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sldIdLst>
    <p:sldId id="256" r:id="rId5"/>
    <p:sldId id="696" r:id="rId6"/>
    <p:sldId id="644" r:id="rId7"/>
    <p:sldId id="645" r:id="rId8"/>
    <p:sldId id="692" r:id="rId9"/>
    <p:sldId id="2145706604" r:id="rId10"/>
    <p:sldId id="707" r:id="rId11"/>
    <p:sldId id="661" r:id="rId12"/>
    <p:sldId id="660" r:id="rId13"/>
    <p:sldId id="2145706575" r:id="rId14"/>
    <p:sldId id="2145706603" r:id="rId15"/>
    <p:sldId id="2145706598" r:id="rId16"/>
    <p:sldId id="2145706596"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84" autoAdjust="0"/>
    <p:restoredTop sz="94660"/>
  </p:normalViewPr>
  <p:slideViewPr>
    <p:cSldViewPr snapToGrid="0">
      <p:cViewPr varScale="1">
        <p:scale>
          <a:sx n="128" d="100"/>
          <a:sy n="128" d="100"/>
        </p:scale>
        <p:origin x="520" y="17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30451C-7BA5-42A6-99DD-B0E640DAEFB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MY"/>
          </a:p>
        </p:txBody>
      </p:sp>
      <p:sp>
        <p:nvSpPr>
          <p:cNvPr id="3" name="Subtitle 2">
            <a:extLst>
              <a:ext uri="{FF2B5EF4-FFF2-40B4-BE49-F238E27FC236}">
                <a16:creationId xmlns:a16="http://schemas.microsoft.com/office/drawing/2014/main" id="{D77AFFA0-2F10-4DDC-8A3C-0894639FD5A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MY"/>
          </a:p>
        </p:txBody>
      </p:sp>
      <p:sp>
        <p:nvSpPr>
          <p:cNvPr id="4" name="Date Placeholder 3">
            <a:extLst>
              <a:ext uri="{FF2B5EF4-FFF2-40B4-BE49-F238E27FC236}">
                <a16:creationId xmlns:a16="http://schemas.microsoft.com/office/drawing/2014/main" id="{78D75FCC-9192-4C15-8301-33FFF521CD52}"/>
              </a:ext>
            </a:extLst>
          </p:cNvPr>
          <p:cNvSpPr>
            <a:spLocks noGrp="1"/>
          </p:cNvSpPr>
          <p:nvPr>
            <p:ph type="dt" sz="half" idx="10"/>
          </p:nvPr>
        </p:nvSpPr>
        <p:spPr/>
        <p:txBody>
          <a:bodyPr/>
          <a:lstStyle/>
          <a:p>
            <a:fld id="{E347C6FA-BE73-4587-B477-CFD063C0DFD4}" type="datetimeFigureOut">
              <a:rPr lang="en-MY" smtClean="0"/>
              <a:t>28/12/2021</a:t>
            </a:fld>
            <a:endParaRPr lang="en-MY"/>
          </a:p>
        </p:txBody>
      </p:sp>
      <p:sp>
        <p:nvSpPr>
          <p:cNvPr id="5" name="Footer Placeholder 4">
            <a:extLst>
              <a:ext uri="{FF2B5EF4-FFF2-40B4-BE49-F238E27FC236}">
                <a16:creationId xmlns:a16="http://schemas.microsoft.com/office/drawing/2014/main" id="{FCAFC68C-BB06-4FBF-AC4B-CA002A33B44D}"/>
              </a:ext>
            </a:extLst>
          </p:cNvPr>
          <p:cNvSpPr>
            <a:spLocks noGrp="1"/>
          </p:cNvSpPr>
          <p:nvPr>
            <p:ph type="ftr" sz="quarter" idx="11"/>
          </p:nvPr>
        </p:nvSpPr>
        <p:spPr/>
        <p:txBody>
          <a:bodyPr/>
          <a:lstStyle/>
          <a:p>
            <a:endParaRPr lang="en-MY"/>
          </a:p>
        </p:txBody>
      </p:sp>
      <p:sp>
        <p:nvSpPr>
          <p:cNvPr id="6" name="Slide Number Placeholder 5">
            <a:extLst>
              <a:ext uri="{FF2B5EF4-FFF2-40B4-BE49-F238E27FC236}">
                <a16:creationId xmlns:a16="http://schemas.microsoft.com/office/drawing/2014/main" id="{6E4F68BD-926C-4836-8860-EF0FD590CDE1}"/>
              </a:ext>
            </a:extLst>
          </p:cNvPr>
          <p:cNvSpPr>
            <a:spLocks noGrp="1"/>
          </p:cNvSpPr>
          <p:nvPr>
            <p:ph type="sldNum" sz="quarter" idx="12"/>
          </p:nvPr>
        </p:nvSpPr>
        <p:spPr/>
        <p:txBody>
          <a:bodyPr/>
          <a:lstStyle/>
          <a:p>
            <a:fld id="{D487DE5B-3C49-4DC6-8CB2-A5E272B28159}" type="slidenum">
              <a:rPr lang="en-MY" smtClean="0"/>
              <a:t>‹#›</a:t>
            </a:fld>
            <a:endParaRPr lang="en-MY"/>
          </a:p>
        </p:txBody>
      </p:sp>
    </p:spTree>
    <p:extLst>
      <p:ext uri="{BB962C8B-B14F-4D97-AF65-F5344CB8AC3E}">
        <p14:creationId xmlns:p14="http://schemas.microsoft.com/office/powerpoint/2010/main" val="361241205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141E90-2D1A-45D2-B315-916C3E41752D}"/>
              </a:ext>
            </a:extLst>
          </p:cNvPr>
          <p:cNvSpPr>
            <a:spLocks noGrp="1"/>
          </p:cNvSpPr>
          <p:nvPr>
            <p:ph type="title"/>
          </p:nvPr>
        </p:nvSpPr>
        <p:spPr/>
        <p:txBody>
          <a:bodyPr/>
          <a:lstStyle/>
          <a:p>
            <a:r>
              <a:rPr lang="en-US"/>
              <a:t>Click to edit Master title style</a:t>
            </a:r>
            <a:endParaRPr lang="en-MY"/>
          </a:p>
        </p:txBody>
      </p:sp>
      <p:sp>
        <p:nvSpPr>
          <p:cNvPr id="3" name="Vertical Text Placeholder 2">
            <a:extLst>
              <a:ext uri="{FF2B5EF4-FFF2-40B4-BE49-F238E27FC236}">
                <a16:creationId xmlns:a16="http://schemas.microsoft.com/office/drawing/2014/main" id="{4A860EBF-4D47-4025-83EC-7310D3F2C7D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4" name="Date Placeholder 3">
            <a:extLst>
              <a:ext uri="{FF2B5EF4-FFF2-40B4-BE49-F238E27FC236}">
                <a16:creationId xmlns:a16="http://schemas.microsoft.com/office/drawing/2014/main" id="{D46C95B8-CEF2-4B16-8B82-A7DFC61DB9B4}"/>
              </a:ext>
            </a:extLst>
          </p:cNvPr>
          <p:cNvSpPr>
            <a:spLocks noGrp="1"/>
          </p:cNvSpPr>
          <p:nvPr>
            <p:ph type="dt" sz="half" idx="10"/>
          </p:nvPr>
        </p:nvSpPr>
        <p:spPr/>
        <p:txBody>
          <a:bodyPr/>
          <a:lstStyle/>
          <a:p>
            <a:fld id="{E347C6FA-BE73-4587-B477-CFD063C0DFD4}" type="datetimeFigureOut">
              <a:rPr lang="en-MY" smtClean="0"/>
              <a:t>28/12/2021</a:t>
            </a:fld>
            <a:endParaRPr lang="en-MY"/>
          </a:p>
        </p:txBody>
      </p:sp>
      <p:sp>
        <p:nvSpPr>
          <p:cNvPr id="5" name="Footer Placeholder 4">
            <a:extLst>
              <a:ext uri="{FF2B5EF4-FFF2-40B4-BE49-F238E27FC236}">
                <a16:creationId xmlns:a16="http://schemas.microsoft.com/office/drawing/2014/main" id="{28F0674D-F06D-4DF1-91C4-BEBE0CE645C4}"/>
              </a:ext>
            </a:extLst>
          </p:cNvPr>
          <p:cNvSpPr>
            <a:spLocks noGrp="1"/>
          </p:cNvSpPr>
          <p:nvPr>
            <p:ph type="ftr" sz="quarter" idx="11"/>
          </p:nvPr>
        </p:nvSpPr>
        <p:spPr/>
        <p:txBody>
          <a:bodyPr/>
          <a:lstStyle/>
          <a:p>
            <a:endParaRPr lang="en-MY"/>
          </a:p>
        </p:txBody>
      </p:sp>
      <p:sp>
        <p:nvSpPr>
          <p:cNvPr id="6" name="Slide Number Placeholder 5">
            <a:extLst>
              <a:ext uri="{FF2B5EF4-FFF2-40B4-BE49-F238E27FC236}">
                <a16:creationId xmlns:a16="http://schemas.microsoft.com/office/drawing/2014/main" id="{AB382F25-13B3-4458-8398-FF726058DDCC}"/>
              </a:ext>
            </a:extLst>
          </p:cNvPr>
          <p:cNvSpPr>
            <a:spLocks noGrp="1"/>
          </p:cNvSpPr>
          <p:nvPr>
            <p:ph type="sldNum" sz="quarter" idx="12"/>
          </p:nvPr>
        </p:nvSpPr>
        <p:spPr/>
        <p:txBody>
          <a:bodyPr/>
          <a:lstStyle/>
          <a:p>
            <a:fld id="{D487DE5B-3C49-4DC6-8CB2-A5E272B28159}" type="slidenum">
              <a:rPr lang="en-MY" smtClean="0"/>
              <a:t>‹#›</a:t>
            </a:fld>
            <a:endParaRPr lang="en-MY"/>
          </a:p>
        </p:txBody>
      </p:sp>
    </p:spTree>
    <p:extLst>
      <p:ext uri="{BB962C8B-B14F-4D97-AF65-F5344CB8AC3E}">
        <p14:creationId xmlns:p14="http://schemas.microsoft.com/office/powerpoint/2010/main" val="20685753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A12D998-B9CE-43A7-9389-F75EF5B17F0E}"/>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MY"/>
          </a:p>
        </p:txBody>
      </p:sp>
      <p:sp>
        <p:nvSpPr>
          <p:cNvPr id="3" name="Vertical Text Placeholder 2">
            <a:extLst>
              <a:ext uri="{FF2B5EF4-FFF2-40B4-BE49-F238E27FC236}">
                <a16:creationId xmlns:a16="http://schemas.microsoft.com/office/drawing/2014/main" id="{B1619CFF-FE54-49A3-A048-703D4650CB1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4" name="Date Placeholder 3">
            <a:extLst>
              <a:ext uri="{FF2B5EF4-FFF2-40B4-BE49-F238E27FC236}">
                <a16:creationId xmlns:a16="http://schemas.microsoft.com/office/drawing/2014/main" id="{1F331019-26AB-48F4-82CD-56E2DD63A62F}"/>
              </a:ext>
            </a:extLst>
          </p:cNvPr>
          <p:cNvSpPr>
            <a:spLocks noGrp="1"/>
          </p:cNvSpPr>
          <p:nvPr>
            <p:ph type="dt" sz="half" idx="10"/>
          </p:nvPr>
        </p:nvSpPr>
        <p:spPr/>
        <p:txBody>
          <a:bodyPr/>
          <a:lstStyle/>
          <a:p>
            <a:fld id="{E347C6FA-BE73-4587-B477-CFD063C0DFD4}" type="datetimeFigureOut">
              <a:rPr lang="en-MY" smtClean="0"/>
              <a:t>28/12/2021</a:t>
            </a:fld>
            <a:endParaRPr lang="en-MY"/>
          </a:p>
        </p:txBody>
      </p:sp>
      <p:sp>
        <p:nvSpPr>
          <p:cNvPr id="5" name="Footer Placeholder 4">
            <a:extLst>
              <a:ext uri="{FF2B5EF4-FFF2-40B4-BE49-F238E27FC236}">
                <a16:creationId xmlns:a16="http://schemas.microsoft.com/office/drawing/2014/main" id="{8C18F86A-F0A9-4E22-BAD1-F49D54086FB3}"/>
              </a:ext>
            </a:extLst>
          </p:cNvPr>
          <p:cNvSpPr>
            <a:spLocks noGrp="1"/>
          </p:cNvSpPr>
          <p:nvPr>
            <p:ph type="ftr" sz="quarter" idx="11"/>
          </p:nvPr>
        </p:nvSpPr>
        <p:spPr/>
        <p:txBody>
          <a:bodyPr/>
          <a:lstStyle/>
          <a:p>
            <a:endParaRPr lang="en-MY"/>
          </a:p>
        </p:txBody>
      </p:sp>
      <p:sp>
        <p:nvSpPr>
          <p:cNvPr id="6" name="Slide Number Placeholder 5">
            <a:extLst>
              <a:ext uri="{FF2B5EF4-FFF2-40B4-BE49-F238E27FC236}">
                <a16:creationId xmlns:a16="http://schemas.microsoft.com/office/drawing/2014/main" id="{F5D0207C-84FD-421C-A322-BD8D965EF965}"/>
              </a:ext>
            </a:extLst>
          </p:cNvPr>
          <p:cNvSpPr>
            <a:spLocks noGrp="1"/>
          </p:cNvSpPr>
          <p:nvPr>
            <p:ph type="sldNum" sz="quarter" idx="12"/>
          </p:nvPr>
        </p:nvSpPr>
        <p:spPr/>
        <p:txBody>
          <a:bodyPr/>
          <a:lstStyle/>
          <a:p>
            <a:fld id="{D487DE5B-3C49-4DC6-8CB2-A5E272B28159}" type="slidenum">
              <a:rPr lang="en-MY" smtClean="0"/>
              <a:t>‹#›</a:t>
            </a:fld>
            <a:endParaRPr lang="en-MY"/>
          </a:p>
        </p:txBody>
      </p:sp>
    </p:spTree>
    <p:extLst>
      <p:ext uri="{BB962C8B-B14F-4D97-AF65-F5344CB8AC3E}">
        <p14:creationId xmlns:p14="http://schemas.microsoft.com/office/powerpoint/2010/main" val="28311435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Kun titel">
    <p:spTree>
      <p:nvGrpSpPr>
        <p:cNvPr id="1" name=""/>
        <p:cNvGrpSpPr/>
        <p:nvPr/>
      </p:nvGrpSpPr>
      <p:grpSpPr>
        <a:xfrm>
          <a:off x="0" y="0"/>
          <a:ext cx="0" cy="0"/>
          <a:chOff x="0" y="0"/>
          <a:chExt cx="0" cy="0"/>
        </a:xfrm>
      </p:grpSpPr>
      <p:graphicFrame>
        <p:nvGraphicFramePr>
          <p:cNvPr id="6" name="Objekt 5" hidden="1"/>
          <p:cNvGraphicFramePr>
            <a:graphicFrameLocks/>
          </p:cNvGraphicFramePr>
          <p:nvPr>
            <p:custDataLst>
              <p:tags r:id="rId2"/>
            </p:custDataLst>
          </p:nvPr>
        </p:nvGraphicFramePr>
        <p:xfrm>
          <a:off x="1" y="1"/>
          <a:ext cx="195385" cy="158751"/>
        </p:xfrm>
        <a:graphic>
          <a:graphicData uri="http://schemas.openxmlformats.org/presentationml/2006/ole">
            <mc:AlternateContent xmlns:mc="http://schemas.openxmlformats.org/markup-compatibility/2006">
              <mc:Choice xmlns:v="urn:schemas-microsoft-com:vml" Requires="v">
                <p:oleObj spid="_x0000_s1036" name="think-cell Slide" r:id="rId4" imgW="0" imgH="0" progId="TCLayout.ActiveDocument.1">
                  <p:embed/>
                </p:oleObj>
              </mc:Choice>
              <mc:Fallback>
                <p:oleObj name="think-cell Slide" r:id="rId4" imgW="0" imgH="0" progId="TCLayout.ActiveDocument.1">
                  <p:embed/>
                  <p:pic>
                    <p:nvPicPr>
                      <p:cNvPr id="6" name="Objekt 5"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1"/>
                        <a:ext cx="195385"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txBox="1">
            <a:spLocks noChangeArrowheads="1"/>
          </p:cNvSpPr>
          <p:nvPr userDrawn="1"/>
        </p:nvSpPr>
        <p:spPr bwMode="auto">
          <a:xfrm>
            <a:off x="11452470" y="6562987"/>
            <a:ext cx="236415" cy="138499"/>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a:spcBef>
                <a:spcPct val="0"/>
              </a:spcBef>
              <a:defRPr sz="900">
                <a:solidFill>
                  <a:schemeClr val="accent2"/>
                </a:solidFill>
              </a:defRPr>
            </a:lvl1pPr>
          </a:lstStyle>
          <a:p>
            <a:pPr marL="0" marR="0" lvl="0" indent="0" algn="r" defTabSz="1125416" rtl="0" eaLnBrk="0" fontAlgn="base" latinLnBrk="0" hangingPunct="0">
              <a:lnSpc>
                <a:spcPct val="100000"/>
              </a:lnSpc>
              <a:spcBef>
                <a:spcPct val="0"/>
              </a:spcBef>
              <a:spcAft>
                <a:spcPct val="0"/>
              </a:spcAft>
              <a:buClrTx/>
              <a:buSzTx/>
              <a:buFontTx/>
              <a:buNone/>
              <a:tabLst/>
              <a:defRPr/>
            </a:pPr>
            <a:fld id="{45B4CDD9-FE60-424E-AF4D-6DFB76F42C25}" type="slidenum">
              <a:rPr kumimoji="0" lang="en-GB" sz="985" b="0" i="0" u="none" strike="noStrike" kern="1200" cap="none" spc="0" normalizeH="0" baseline="0" noProof="0" smtClean="0">
                <a:ln>
                  <a:noFill/>
                </a:ln>
                <a:solidFill>
                  <a:schemeClr val="tx1"/>
                </a:solidFill>
                <a:effectLst/>
                <a:uLnTx/>
                <a:uFillTx/>
                <a:latin typeface="Arial" charset="0"/>
                <a:ea typeface="+mn-ea"/>
                <a:cs typeface="+mn-cs"/>
              </a:rPr>
              <a:pPr marL="0" marR="0" lvl="0" indent="0" algn="r" defTabSz="1125416" rtl="0" eaLnBrk="0" fontAlgn="base" latinLnBrk="0" hangingPunct="0">
                <a:lnSpc>
                  <a:spcPct val="100000"/>
                </a:lnSpc>
                <a:spcBef>
                  <a:spcPct val="0"/>
                </a:spcBef>
                <a:spcAft>
                  <a:spcPct val="0"/>
                </a:spcAft>
                <a:buClrTx/>
                <a:buSzTx/>
                <a:buFontTx/>
                <a:buNone/>
                <a:tabLst/>
                <a:defRPr/>
              </a:pPr>
              <a:t>‹#›</a:t>
            </a:fld>
            <a:endParaRPr kumimoji="0" lang="en-GB" sz="985" b="0" i="0" u="none" strike="noStrike" kern="1200" cap="none" spc="0" normalizeH="0" baseline="0" noProof="0">
              <a:ln>
                <a:noFill/>
              </a:ln>
              <a:solidFill>
                <a:schemeClr val="tx1"/>
              </a:solidFill>
              <a:effectLst/>
              <a:uLnTx/>
              <a:uFillTx/>
              <a:latin typeface="Arial" charset="0"/>
              <a:ea typeface="+mn-ea"/>
              <a:cs typeface="+mn-cs"/>
            </a:endParaRPr>
          </a:p>
        </p:txBody>
      </p:sp>
      <p:sp>
        <p:nvSpPr>
          <p:cNvPr id="8" name="Titel 1">
            <a:extLst>
              <a:ext uri="{FF2B5EF4-FFF2-40B4-BE49-F238E27FC236}">
                <a16:creationId xmlns:a16="http://schemas.microsoft.com/office/drawing/2014/main" id="{25E3661E-0ECE-BC4D-8618-88BDD8C37825}"/>
              </a:ext>
            </a:extLst>
          </p:cNvPr>
          <p:cNvSpPr>
            <a:spLocks noGrp="1"/>
          </p:cNvSpPr>
          <p:nvPr>
            <p:ph type="title" hasCustomPrompt="1"/>
          </p:nvPr>
        </p:nvSpPr>
        <p:spPr>
          <a:xfrm>
            <a:off x="504485" y="213868"/>
            <a:ext cx="11166231" cy="769441"/>
          </a:xfrm>
        </p:spPr>
        <p:txBody>
          <a:bodyPr vert="horz">
            <a:spAutoFit/>
          </a:bodyPr>
          <a:lstStyle>
            <a:lvl1pPr marL="0" marR="0" indent="0" algn="l" defTabSz="1125416" rtl="0" eaLnBrk="1" fontAlgn="base" latinLnBrk="0" hangingPunct="1">
              <a:lnSpc>
                <a:spcPct val="100000"/>
              </a:lnSpc>
              <a:spcBef>
                <a:spcPct val="0"/>
              </a:spcBef>
              <a:spcAft>
                <a:spcPct val="0"/>
              </a:spcAft>
              <a:buClrTx/>
              <a:buSzTx/>
              <a:buFontTx/>
              <a:buNone/>
              <a:tabLst/>
              <a:defRPr sz="2200">
                <a:solidFill>
                  <a:schemeClr val="tx1"/>
                </a:solidFill>
              </a:defRPr>
            </a:lvl1pPr>
          </a:lstStyle>
          <a:p>
            <a:r>
              <a:rPr lang="en-GB"/>
              <a:t>Slide title</a:t>
            </a:r>
            <a:br>
              <a:rPr lang="en-GB"/>
            </a:br>
            <a:r>
              <a:rPr lang="en-GB"/>
              <a:t>[Arial 22pt – lower case letters – max two lines]</a:t>
            </a:r>
            <a:endParaRPr lang="en-GB" noProof="0"/>
          </a:p>
        </p:txBody>
      </p:sp>
      <p:cxnSp>
        <p:nvCxnSpPr>
          <p:cNvPr id="9" name="Straight Connector 8">
            <a:extLst>
              <a:ext uri="{FF2B5EF4-FFF2-40B4-BE49-F238E27FC236}">
                <a16:creationId xmlns:a16="http://schemas.microsoft.com/office/drawing/2014/main" id="{4498A913-C3A6-5745-B3C0-2BE4A00F52B3}"/>
              </a:ext>
            </a:extLst>
          </p:cNvPr>
          <p:cNvCxnSpPr/>
          <p:nvPr userDrawn="1"/>
        </p:nvCxnSpPr>
        <p:spPr bwMode="auto">
          <a:xfrm>
            <a:off x="506438" y="1006835"/>
            <a:ext cx="11164277" cy="0"/>
          </a:xfrm>
          <a:prstGeom prst="line">
            <a:avLst/>
          </a:prstGeom>
          <a:solidFill>
            <a:schemeClr val="accent1"/>
          </a:solidFill>
          <a:ln w="12700" cap="flat" cmpd="sng" algn="ctr">
            <a:solidFill>
              <a:schemeClr val="tx2"/>
            </a:solidFill>
            <a:prstDash val="solid"/>
            <a:round/>
            <a:headEnd type="none" w="med" len="med"/>
            <a:tailEnd type="none" w="med" len="med"/>
          </a:ln>
          <a:effectLst/>
        </p:spPr>
      </p:cxnSp>
    </p:spTree>
    <p:extLst>
      <p:ext uri="{BB962C8B-B14F-4D97-AF65-F5344CB8AC3E}">
        <p14:creationId xmlns:p14="http://schemas.microsoft.com/office/powerpoint/2010/main" val="256296597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51532E-A854-4DB4-950C-056E136B25AF}"/>
              </a:ext>
            </a:extLst>
          </p:cNvPr>
          <p:cNvSpPr>
            <a:spLocks noGrp="1"/>
          </p:cNvSpPr>
          <p:nvPr>
            <p:ph type="title"/>
          </p:nvPr>
        </p:nvSpPr>
        <p:spPr/>
        <p:txBody>
          <a:bodyPr/>
          <a:lstStyle/>
          <a:p>
            <a:r>
              <a:rPr lang="en-US"/>
              <a:t>Click to edit Master title style</a:t>
            </a:r>
            <a:endParaRPr lang="en-MY"/>
          </a:p>
        </p:txBody>
      </p:sp>
      <p:sp>
        <p:nvSpPr>
          <p:cNvPr id="3" name="Content Placeholder 2">
            <a:extLst>
              <a:ext uri="{FF2B5EF4-FFF2-40B4-BE49-F238E27FC236}">
                <a16:creationId xmlns:a16="http://schemas.microsoft.com/office/drawing/2014/main" id="{B9B5E7CA-CC70-4CF1-A5C9-68DE88E6865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4" name="Date Placeholder 3">
            <a:extLst>
              <a:ext uri="{FF2B5EF4-FFF2-40B4-BE49-F238E27FC236}">
                <a16:creationId xmlns:a16="http://schemas.microsoft.com/office/drawing/2014/main" id="{E5E2CACA-C647-4DD4-BB9E-80617CA244B0}"/>
              </a:ext>
            </a:extLst>
          </p:cNvPr>
          <p:cNvSpPr>
            <a:spLocks noGrp="1"/>
          </p:cNvSpPr>
          <p:nvPr>
            <p:ph type="dt" sz="half" idx="10"/>
          </p:nvPr>
        </p:nvSpPr>
        <p:spPr/>
        <p:txBody>
          <a:bodyPr/>
          <a:lstStyle/>
          <a:p>
            <a:fld id="{E347C6FA-BE73-4587-B477-CFD063C0DFD4}" type="datetimeFigureOut">
              <a:rPr lang="en-MY" smtClean="0"/>
              <a:t>28/12/2021</a:t>
            </a:fld>
            <a:endParaRPr lang="en-MY"/>
          </a:p>
        </p:txBody>
      </p:sp>
      <p:sp>
        <p:nvSpPr>
          <p:cNvPr id="5" name="Footer Placeholder 4">
            <a:extLst>
              <a:ext uri="{FF2B5EF4-FFF2-40B4-BE49-F238E27FC236}">
                <a16:creationId xmlns:a16="http://schemas.microsoft.com/office/drawing/2014/main" id="{445E4CD8-B1EA-4C30-97DF-BBE45C535E08}"/>
              </a:ext>
            </a:extLst>
          </p:cNvPr>
          <p:cNvSpPr>
            <a:spLocks noGrp="1"/>
          </p:cNvSpPr>
          <p:nvPr>
            <p:ph type="ftr" sz="quarter" idx="11"/>
          </p:nvPr>
        </p:nvSpPr>
        <p:spPr/>
        <p:txBody>
          <a:bodyPr/>
          <a:lstStyle/>
          <a:p>
            <a:endParaRPr lang="en-MY"/>
          </a:p>
        </p:txBody>
      </p:sp>
      <p:sp>
        <p:nvSpPr>
          <p:cNvPr id="6" name="Slide Number Placeholder 5">
            <a:extLst>
              <a:ext uri="{FF2B5EF4-FFF2-40B4-BE49-F238E27FC236}">
                <a16:creationId xmlns:a16="http://schemas.microsoft.com/office/drawing/2014/main" id="{154E62D8-5536-48A1-9061-F876C24D6D8A}"/>
              </a:ext>
            </a:extLst>
          </p:cNvPr>
          <p:cNvSpPr>
            <a:spLocks noGrp="1"/>
          </p:cNvSpPr>
          <p:nvPr>
            <p:ph type="sldNum" sz="quarter" idx="12"/>
          </p:nvPr>
        </p:nvSpPr>
        <p:spPr/>
        <p:txBody>
          <a:bodyPr/>
          <a:lstStyle/>
          <a:p>
            <a:fld id="{D487DE5B-3C49-4DC6-8CB2-A5E272B28159}" type="slidenum">
              <a:rPr lang="en-MY" smtClean="0"/>
              <a:t>‹#›</a:t>
            </a:fld>
            <a:endParaRPr lang="en-MY"/>
          </a:p>
        </p:txBody>
      </p:sp>
    </p:spTree>
    <p:extLst>
      <p:ext uri="{BB962C8B-B14F-4D97-AF65-F5344CB8AC3E}">
        <p14:creationId xmlns:p14="http://schemas.microsoft.com/office/powerpoint/2010/main" val="15495180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33D5CD-219A-4D83-95EC-65FF94EE83D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MY"/>
          </a:p>
        </p:txBody>
      </p:sp>
      <p:sp>
        <p:nvSpPr>
          <p:cNvPr id="3" name="Text Placeholder 2">
            <a:extLst>
              <a:ext uri="{FF2B5EF4-FFF2-40B4-BE49-F238E27FC236}">
                <a16:creationId xmlns:a16="http://schemas.microsoft.com/office/drawing/2014/main" id="{F300D03B-D1E9-4FF7-BA47-C564178D6EF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E98281F-7A0D-46B7-ADD3-985DCB82FD4B}"/>
              </a:ext>
            </a:extLst>
          </p:cNvPr>
          <p:cNvSpPr>
            <a:spLocks noGrp="1"/>
          </p:cNvSpPr>
          <p:nvPr>
            <p:ph type="dt" sz="half" idx="10"/>
          </p:nvPr>
        </p:nvSpPr>
        <p:spPr/>
        <p:txBody>
          <a:bodyPr/>
          <a:lstStyle/>
          <a:p>
            <a:fld id="{E347C6FA-BE73-4587-B477-CFD063C0DFD4}" type="datetimeFigureOut">
              <a:rPr lang="en-MY" smtClean="0"/>
              <a:t>28/12/2021</a:t>
            </a:fld>
            <a:endParaRPr lang="en-MY"/>
          </a:p>
        </p:txBody>
      </p:sp>
      <p:sp>
        <p:nvSpPr>
          <p:cNvPr id="5" name="Footer Placeholder 4">
            <a:extLst>
              <a:ext uri="{FF2B5EF4-FFF2-40B4-BE49-F238E27FC236}">
                <a16:creationId xmlns:a16="http://schemas.microsoft.com/office/drawing/2014/main" id="{B4FA9D15-330C-47CA-BA31-0B8532D44797}"/>
              </a:ext>
            </a:extLst>
          </p:cNvPr>
          <p:cNvSpPr>
            <a:spLocks noGrp="1"/>
          </p:cNvSpPr>
          <p:nvPr>
            <p:ph type="ftr" sz="quarter" idx="11"/>
          </p:nvPr>
        </p:nvSpPr>
        <p:spPr/>
        <p:txBody>
          <a:bodyPr/>
          <a:lstStyle/>
          <a:p>
            <a:endParaRPr lang="en-MY"/>
          </a:p>
        </p:txBody>
      </p:sp>
      <p:sp>
        <p:nvSpPr>
          <p:cNvPr id="6" name="Slide Number Placeholder 5">
            <a:extLst>
              <a:ext uri="{FF2B5EF4-FFF2-40B4-BE49-F238E27FC236}">
                <a16:creationId xmlns:a16="http://schemas.microsoft.com/office/drawing/2014/main" id="{4FDD0C8B-8B98-4A3C-A047-0C77C6C6F8E5}"/>
              </a:ext>
            </a:extLst>
          </p:cNvPr>
          <p:cNvSpPr>
            <a:spLocks noGrp="1"/>
          </p:cNvSpPr>
          <p:nvPr>
            <p:ph type="sldNum" sz="quarter" idx="12"/>
          </p:nvPr>
        </p:nvSpPr>
        <p:spPr/>
        <p:txBody>
          <a:bodyPr/>
          <a:lstStyle/>
          <a:p>
            <a:fld id="{D487DE5B-3C49-4DC6-8CB2-A5E272B28159}" type="slidenum">
              <a:rPr lang="en-MY" smtClean="0"/>
              <a:t>‹#›</a:t>
            </a:fld>
            <a:endParaRPr lang="en-MY"/>
          </a:p>
        </p:txBody>
      </p:sp>
    </p:spTree>
    <p:extLst>
      <p:ext uri="{BB962C8B-B14F-4D97-AF65-F5344CB8AC3E}">
        <p14:creationId xmlns:p14="http://schemas.microsoft.com/office/powerpoint/2010/main" val="10841762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8190B8-9283-43F8-8EA8-7215E63A994B}"/>
              </a:ext>
            </a:extLst>
          </p:cNvPr>
          <p:cNvSpPr>
            <a:spLocks noGrp="1"/>
          </p:cNvSpPr>
          <p:nvPr>
            <p:ph type="title"/>
          </p:nvPr>
        </p:nvSpPr>
        <p:spPr/>
        <p:txBody>
          <a:bodyPr/>
          <a:lstStyle/>
          <a:p>
            <a:r>
              <a:rPr lang="en-US"/>
              <a:t>Click to edit Master title style</a:t>
            </a:r>
            <a:endParaRPr lang="en-MY"/>
          </a:p>
        </p:txBody>
      </p:sp>
      <p:sp>
        <p:nvSpPr>
          <p:cNvPr id="3" name="Content Placeholder 2">
            <a:extLst>
              <a:ext uri="{FF2B5EF4-FFF2-40B4-BE49-F238E27FC236}">
                <a16:creationId xmlns:a16="http://schemas.microsoft.com/office/drawing/2014/main" id="{BD73FE3C-7C54-47B2-A4E6-CA625F0393C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4" name="Content Placeholder 3">
            <a:extLst>
              <a:ext uri="{FF2B5EF4-FFF2-40B4-BE49-F238E27FC236}">
                <a16:creationId xmlns:a16="http://schemas.microsoft.com/office/drawing/2014/main" id="{455142CF-253F-4E92-AA7F-FCD2E97999A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5" name="Date Placeholder 4">
            <a:extLst>
              <a:ext uri="{FF2B5EF4-FFF2-40B4-BE49-F238E27FC236}">
                <a16:creationId xmlns:a16="http://schemas.microsoft.com/office/drawing/2014/main" id="{620AF960-82F4-44D8-96D9-08F7A390A4FC}"/>
              </a:ext>
            </a:extLst>
          </p:cNvPr>
          <p:cNvSpPr>
            <a:spLocks noGrp="1"/>
          </p:cNvSpPr>
          <p:nvPr>
            <p:ph type="dt" sz="half" idx="10"/>
          </p:nvPr>
        </p:nvSpPr>
        <p:spPr/>
        <p:txBody>
          <a:bodyPr/>
          <a:lstStyle/>
          <a:p>
            <a:fld id="{E347C6FA-BE73-4587-B477-CFD063C0DFD4}" type="datetimeFigureOut">
              <a:rPr lang="en-MY" smtClean="0"/>
              <a:t>28/12/2021</a:t>
            </a:fld>
            <a:endParaRPr lang="en-MY"/>
          </a:p>
        </p:txBody>
      </p:sp>
      <p:sp>
        <p:nvSpPr>
          <p:cNvPr id="6" name="Footer Placeholder 5">
            <a:extLst>
              <a:ext uri="{FF2B5EF4-FFF2-40B4-BE49-F238E27FC236}">
                <a16:creationId xmlns:a16="http://schemas.microsoft.com/office/drawing/2014/main" id="{A3DF1BFA-F113-4349-9FEF-7507D217A204}"/>
              </a:ext>
            </a:extLst>
          </p:cNvPr>
          <p:cNvSpPr>
            <a:spLocks noGrp="1"/>
          </p:cNvSpPr>
          <p:nvPr>
            <p:ph type="ftr" sz="quarter" idx="11"/>
          </p:nvPr>
        </p:nvSpPr>
        <p:spPr/>
        <p:txBody>
          <a:bodyPr/>
          <a:lstStyle/>
          <a:p>
            <a:endParaRPr lang="en-MY"/>
          </a:p>
        </p:txBody>
      </p:sp>
      <p:sp>
        <p:nvSpPr>
          <p:cNvPr id="7" name="Slide Number Placeholder 6">
            <a:extLst>
              <a:ext uri="{FF2B5EF4-FFF2-40B4-BE49-F238E27FC236}">
                <a16:creationId xmlns:a16="http://schemas.microsoft.com/office/drawing/2014/main" id="{97990D8B-9DBA-4A7D-9966-22DE3FD7E7A9}"/>
              </a:ext>
            </a:extLst>
          </p:cNvPr>
          <p:cNvSpPr>
            <a:spLocks noGrp="1"/>
          </p:cNvSpPr>
          <p:nvPr>
            <p:ph type="sldNum" sz="quarter" idx="12"/>
          </p:nvPr>
        </p:nvSpPr>
        <p:spPr/>
        <p:txBody>
          <a:bodyPr/>
          <a:lstStyle/>
          <a:p>
            <a:fld id="{D487DE5B-3C49-4DC6-8CB2-A5E272B28159}" type="slidenum">
              <a:rPr lang="en-MY" smtClean="0"/>
              <a:t>‹#›</a:t>
            </a:fld>
            <a:endParaRPr lang="en-MY"/>
          </a:p>
        </p:txBody>
      </p:sp>
    </p:spTree>
    <p:extLst>
      <p:ext uri="{BB962C8B-B14F-4D97-AF65-F5344CB8AC3E}">
        <p14:creationId xmlns:p14="http://schemas.microsoft.com/office/powerpoint/2010/main" val="36150364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6D5046-6138-40CA-92DF-041C6A9E2DB7}"/>
              </a:ext>
            </a:extLst>
          </p:cNvPr>
          <p:cNvSpPr>
            <a:spLocks noGrp="1"/>
          </p:cNvSpPr>
          <p:nvPr>
            <p:ph type="title"/>
          </p:nvPr>
        </p:nvSpPr>
        <p:spPr>
          <a:xfrm>
            <a:off x="839788" y="365125"/>
            <a:ext cx="10515600" cy="1325563"/>
          </a:xfrm>
        </p:spPr>
        <p:txBody>
          <a:bodyPr/>
          <a:lstStyle/>
          <a:p>
            <a:r>
              <a:rPr lang="en-US"/>
              <a:t>Click to edit Master title style</a:t>
            </a:r>
            <a:endParaRPr lang="en-MY"/>
          </a:p>
        </p:txBody>
      </p:sp>
      <p:sp>
        <p:nvSpPr>
          <p:cNvPr id="3" name="Text Placeholder 2">
            <a:extLst>
              <a:ext uri="{FF2B5EF4-FFF2-40B4-BE49-F238E27FC236}">
                <a16:creationId xmlns:a16="http://schemas.microsoft.com/office/drawing/2014/main" id="{845611F3-B1B4-47AD-BC34-F98E27DB33C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18AAF79-BE59-4148-9666-97FFB0EDECD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5" name="Text Placeholder 4">
            <a:extLst>
              <a:ext uri="{FF2B5EF4-FFF2-40B4-BE49-F238E27FC236}">
                <a16:creationId xmlns:a16="http://schemas.microsoft.com/office/drawing/2014/main" id="{5AC1EAD0-BD2E-4EBD-9336-1405B3EBBF4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7367605-2600-4815-BDF5-3EBCDD12C9C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7" name="Date Placeholder 6">
            <a:extLst>
              <a:ext uri="{FF2B5EF4-FFF2-40B4-BE49-F238E27FC236}">
                <a16:creationId xmlns:a16="http://schemas.microsoft.com/office/drawing/2014/main" id="{16BCB5EB-8341-4CE0-9722-664E29ECE582}"/>
              </a:ext>
            </a:extLst>
          </p:cNvPr>
          <p:cNvSpPr>
            <a:spLocks noGrp="1"/>
          </p:cNvSpPr>
          <p:nvPr>
            <p:ph type="dt" sz="half" idx="10"/>
          </p:nvPr>
        </p:nvSpPr>
        <p:spPr/>
        <p:txBody>
          <a:bodyPr/>
          <a:lstStyle/>
          <a:p>
            <a:fld id="{E347C6FA-BE73-4587-B477-CFD063C0DFD4}" type="datetimeFigureOut">
              <a:rPr lang="en-MY" smtClean="0"/>
              <a:t>28/12/2021</a:t>
            </a:fld>
            <a:endParaRPr lang="en-MY"/>
          </a:p>
        </p:txBody>
      </p:sp>
      <p:sp>
        <p:nvSpPr>
          <p:cNvPr id="8" name="Footer Placeholder 7">
            <a:extLst>
              <a:ext uri="{FF2B5EF4-FFF2-40B4-BE49-F238E27FC236}">
                <a16:creationId xmlns:a16="http://schemas.microsoft.com/office/drawing/2014/main" id="{D0EAFE2E-406B-460D-914D-690A462DAB0B}"/>
              </a:ext>
            </a:extLst>
          </p:cNvPr>
          <p:cNvSpPr>
            <a:spLocks noGrp="1"/>
          </p:cNvSpPr>
          <p:nvPr>
            <p:ph type="ftr" sz="quarter" idx="11"/>
          </p:nvPr>
        </p:nvSpPr>
        <p:spPr/>
        <p:txBody>
          <a:bodyPr/>
          <a:lstStyle/>
          <a:p>
            <a:endParaRPr lang="en-MY"/>
          </a:p>
        </p:txBody>
      </p:sp>
      <p:sp>
        <p:nvSpPr>
          <p:cNvPr id="9" name="Slide Number Placeholder 8">
            <a:extLst>
              <a:ext uri="{FF2B5EF4-FFF2-40B4-BE49-F238E27FC236}">
                <a16:creationId xmlns:a16="http://schemas.microsoft.com/office/drawing/2014/main" id="{629DFE10-96D1-4FB2-87D3-9D8DB28BD581}"/>
              </a:ext>
            </a:extLst>
          </p:cNvPr>
          <p:cNvSpPr>
            <a:spLocks noGrp="1"/>
          </p:cNvSpPr>
          <p:nvPr>
            <p:ph type="sldNum" sz="quarter" idx="12"/>
          </p:nvPr>
        </p:nvSpPr>
        <p:spPr/>
        <p:txBody>
          <a:bodyPr/>
          <a:lstStyle/>
          <a:p>
            <a:fld id="{D487DE5B-3C49-4DC6-8CB2-A5E272B28159}" type="slidenum">
              <a:rPr lang="en-MY" smtClean="0"/>
              <a:t>‹#›</a:t>
            </a:fld>
            <a:endParaRPr lang="en-MY"/>
          </a:p>
        </p:txBody>
      </p:sp>
    </p:spTree>
    <p:extLst>
      <p:ext uri="{BB962C8B-B14F-4D97-AF65-F5344CB8AC3E}">
        <p14:creationId xmlns:p14="http://schemas.microsoft.com/office/powerpoint/2010/main" val="35393620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9C737E-674D-486F-A287-0F7068646A15}"/>
              </a:ext>
            </a:extLst>
          </p:cNvPr>
          <p:cNvSpPr>
            <a:spLocks noGrp="1"/>
          </p:cNvSpPr>
          <p:nvPr>
            <p:ph type="title"/>
          </p:nvPr>
        </p:nvSpPr>
        <p:spPr/>
        <p:txBody>
          <a:bodyPr/>
          <a:lstStyle/>
          <a:p>
            <a:r>
              <a:rPr lang="en-US"/>
              <a:t>Click to edit Master title style</a:t>
            </a:r>
            <a:endParaRPr lang="en-MY"/>
          </a:p>
        </p:txBody>
      </p:sp>
      <p:sp>
        <p:nvSpPr>
          <p:cNvPr id="3" name="Date Placeholder 2">
            <a:extLst>
              <a:ext uri="{FF2B5EF4-FFF2-40B4-BE49-F238E27FC236}">
                <a16:creationId xmlns:a16="http://schemas.microsoft.com/office/drawing/2014/main" id="{41832320-A705-4575-8040-6C1D3AF7A224}"/>
              </a:ext>
            </a:extLst>
          </p:cNvPr>
          <p:cNvSpPr>
            <a:spLocks noGrp="1"/>
          </p:cNvSpPr>
          <p:nvPr>
            <p:ph type="dt" sz="half" idx="10"/>
          </p:nvPr>
        </p:nvSpPr>
        <p:spPr/>
        <p:txBody>
          <a:bodyPr/>
          <a:lstStyle/>
          <a:p>
            <a:fld id="{E347C6FA-BE73-4587-B477-CFD063C0DFD4}" type="datetimeFigureOut">
              <a:rPr lang="en-MY" smtClean="0"/>
              <a:t>28/12/2021</a:t>
            </a:fld>
            <a:endParaRPr lang="en-MY"/>
          </a:p>
        </p:txBody>
      </p:sp>
      <p:sp>
        <p:nvSpPr>
          <p:cNvPr id="4" name="Footer Placeholder 3">
            <a:extLst>
              <a:ext uri="{FF2B5EF4-FFF2-40B4-BE49-F238E27FC236}">
                <a16:creationId xmlns:a16="http://schemas.microsoft.com/office/drawing/2014/main" id="{89C8E296-04C6-4868-A152-8AF8F9CA1523}"/>
              </a:ext>
            </a:extLst>
          </p:cNvPr>
          <p:cNvSpPr>
            <a:spLocks noGrp="1"/>
          </p:cNvSpPr>
          <p:nvPr>
            <p:ph type="ftr" sz="quarter" idx="11"/>
          </p:nvPr>
        </p:nvSpPr>
        <p:spPr/>
        <p:txBody>
          <a:bodyPr/>
          <a:lstStyle/>
          <a:p>
            <a:endParaRPr lang="en-MY"/>
          </a:p>
        </p:txBody>
      </p:sp>
      <p:sp>
        <p:nvSpPr>
          <p:cNvPr id="5" name="Slide Number Placeholder 4">
            <a:extLst>
              <a:ext uri="{FF2B5EF4-FFF2-40B4-BE49-F238E27FC236}">
                <a16:creationId xmlns:a16="http://schemas.microsoft.com/office/drawing/2014/main" id="{21F9B39C-1F97-4B29-BB6B-C00923E63AE1}"/>
              </a:ext>
            </a:extLst>
          </p:cNvPr>
          <p:cNvSpPr>
            <a:spLocks noGrp="1"/>
          </p:cNvSpPr>
          <p:nvPr>
            <p:ph type="sldNum" sz="quarter" idx="12"/>
          </p:nvPr>
        </p:nvSpPr>
        <p:spPr/>
        <p:txBody>
          <a:bodyPr/>
          <a:lstStyle/>
          <a:p>
            <a:fld id="{D487DE5B-3C49-4DC6-8CB2-A5E272B28159}" type="slidenum">
              <a:rPr lang="en-MY" smtClean="0"/>
              <a:t>‹#›</a:t>
            </a:fld>
            <a:endParaRPr lang="en-MY"/>
          </a:p>
        </p:txBody>
      </p:sp>
    </p:spTree>
    <p:extLst>
      <p:ext uri="{BB962C8B-B14F-4D97-AF65-F5344CB8AC3E}">
        <p14:creationId xmlns:p14="http://schemas.microsoft.com/office/powerpoint/2010/main" val="10994195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00A3709-43CC-475D-A047-FD05DB769532}"/>
              </a:ext>
            </a:extLst>
          </p:cNvPr>
          <p:cNvSpPr>
            <a:spLocks noGrp="1"/>
          </p:cNvSpPr>
          <p:nvPr>
            <p:ph type="dt" sz="half" idx="10"/>
          </p:nvPr>
        </p:nvSpPr>
        <p:spPr/>
        <p:txBody>
          <a:bodyPr/>
          <a:lstStyle/>
          <a:p>
            <a:fld id="{E347C6FA-BE73-4587-B477-CFD063C0DFD4}" type="datetimeFigureOut">
              <a:rPr lang="en-MY" smtClean="0"/>
              <a:t>28/12/2021</a:t>
            </a:fld>
            <a:endParaRPr lang="en-MY"/>
          </a:p>
        </p:txBody>
      </p:sp>
      <p:sp>
        <p:nvSpPr>
          <p:cNvPr id="3" name="Footer Placeholder 2">
            <a:extLst>
              <a:ext uri="{FF2B5EF4-FFF2-40B4-BE49-F238E27FC236}">
                <a16:creationId xmlns:a16="http://schemas.microsoft.com/office/drawing/2014/main" id="{1E7A72F0-F8C6-4A7A-A7FF-3A0BE44C1F21}"/>
              </a:ext>
            </a:extLst>
          </p:cNvPr>
          <p:cNvSpPr>
            <a:spLocks noGrp="1"/>
          </p:cNvSpPr>
          <p:nvPr>
            <p:ph type="ftr" sz="quarter" idx="11"/>
          </p:nvPr>
        </p:nvSpPr>
        <p:spPr/>
        <p:txBody>
          <a:bodyPr/>
          <a:lstStyle/>
          <a:p>
            <a:endParaRPr lang="en-MY"/>
          </a:p>
        </p:txBody>
      </p:sp>
      <p:sp>
        <p:nvSpPr>
          <p:cNvPr id="4" name="Slide Number Placeholder 3">
            <a:extLst>
              <a:ext uri="{FF2B5EF4-FFF2-40B4-BE49-F238E27FC236}">
                <a16:creationId xmlns:a16="http://schemas.microsoft.com/office/drawing/2014/main" id="{BD21C5E7-B642-48EE-97C9-53B5F3FA7D59}"/>
              </a:ext>
            </a:extLst>
          </p:cNvPr>
          <p:cNvSpPr>
            <a:spLocks noGrp="1"/>
          </p:cNvSpPr>
          <p:nvPr>
            <p:ph type="sldNum" sz="quarter" idx="12"/>
          </p:nvPr>
        </p:nvSpPr>
        <p:spPr/>
        <p:txBody>
          <a:bodyPr/>
          <a:lstStyle/>
          <a:p>
            <a:fld id="{D487DE5B-3C49-4DC6-8CB2-A5E272B28159}" type="slidenum">
              <a:rPr lang="en-MY" smtClean="0"/>
              <a:t>‹#›</a:t>
            </a:fld>
            <a:endParaRPr lang="en-MY"/>
          </a:p>
        </p:txBody>
      </p:sp>
    </p:spTree>
    <p:extLst>
      <p:ext uri="{BB962C8B-B14F-4D97-AF65-F5344CB8AC3E}">
        <p14:creationId xmlns:p14="http://schemas.microsoft.com/office/powerpoint/2010/main" val="8172848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AD3283-E9B7-4CF8-BB9E-E40087DFB88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MY"/>
          </a:p>
        </p:txBody>
      </p:sp>
      <p:sp>
        <p:nvSpPr>
          <p:cNvPr id="3" name="Content Placeholder 2">
            <a:extLst>
              <a:ext uri="{FF2B5EF4-FFF2-40B4-BE49-F238E27FC236}">
                <a16:creationId xmlns:a16="http://schemas.microsoft.com/office/drawing/2014/main" id="{A0D9D98C-7967-42AD-8936-CB33E2E70A4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4" name="Text Placeholder 3">
            <a:extLst>
              <a:ext uri="{FF2B5EF4-FFF2-40B4-BE49-F238E27FC236}">
                <a16:creationId xmlns:a16="http://schemas.microsoft.com/office/drawing/2014/main" id="{26F3FB49-3317-4903-81A1-ACB6881C86A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AC7E941-AFEC-4A0C-B404-88E65889DF5E}"/>
              </a:ext>
            </a:extLst>
          </p:cNvPr>
          <p:cNvSpPr>
            <a:spLocks noGrp="1"/>
          </p:cNvSpPr>
          <p:nvPr>
            <p:ph type="dt" sz="half" idx="10"/>
          </p:nvPr>
        </p:nvSpPr>
        <p:spPr/>
        <p:txBody>
          <a:bodyPr/>
          <a:lstStyle/>
          <a:p>
            <a:fld id="{E347C6FA-BE73-4587-B477-CFD063C0DFD4}" type="datetimeFigureOut">
              <a:rPr lang="en-MY" smtClean="0"/>
              <a:t>28/12/2021</a:t>
            </a:fld>
            <a:endParaRPr lang="en-MY"/>
          </a:p>
        </p:txBody>
      </p:sp>
      <p:sp>
        <p:nvSpPr>
          <p:cNvPr id="6" name="Footer Placeholder 5">
            <a:extLst>
              <a:ext uri="{FF2B5EF4-FFF2-40B4-BE49-F238E27FC236}">
                <a16:creationId xmlns:a16="http://schemas.microsoft.com/office/drawing/2014/main" id="{634E51F6-ACA2-4D92-9840-BC5A2D0466B8}"/>
              </a:ext>
            </a:extLst>
          </p:cNvPr>
          <p:cNvSpPr>
            <a:spLocks noGrp="1"/>
          </p:cNvSpPr>
          <p:nvPr>
            <p:ph type="ftr" sz="quarter" idx="11"/>
          </p:nvPr>
        </p:nvSpPr>
        <p:spPr/>
        <p:txBody>
          <a:bodyPr/>
          <a:lstStyle/>
          <a:p>
            <a:endParaRPr lang="en-MY"/>
          </a:p>
        </p:txBody>
      </p:sp>
      <p:sp>
        <p:nvSpPr>
          <p:cNvPr id="7" name="Slide Number Placeholder 6">
            <a:extLst>
              <a:ext uri="{FF2B5EF4-FFF2-40B4-BE49-F238E27FC236}">
                <a16:creationId xmlns:a16="http://schemas.microsoft.com/office/drawing/2014/main" id="{0200906E-132E-486A-904C-81F68FDD050E}"/>
              </a:ext>
            </a:extLst>
          </p:cNvPr>
          <p:cNvSpPr>
            <a:spLocks noGrp="1"/>
          </p:cNvSpPr>
          <p:nvPr>
            <p:ph type="sldNum" sz="quarter" idx="12"/>
          </p:nvPr>
        </p:nvSpPr>
        <p:spPr/>
        <p:txBody>
          <a:bodyPr/>
          <a:lstStyle/>
          <a:p>
            <a:fld id="{D487DE5B-3C49-4DC6-8CB2-A5E272B28159}" type="slidenum">
              <a:rPr lang="en-MY" smtClean="0"/>
              <a:t>‹#›</a:t>
            </a:fld>
            <a:endParaRPr lang="en-MY"/>
          </a:p>
        </p:txBody>
      </p:sp>
    </p:spTree>
    <p:extLst>
      <p:ext uri="{BB962C8B-B14F-4D97-AF65-F5344CB8AC3E}">
        <p14:creationId xmlns:p14="http://schemas.microsoft.com/office/powerpoint/2010/main" val="5781491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C3B0CC-E25A-451D-B036-0CE83419FFE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MY"/>
          </a:p>
        </p:txBody>
      </p:sp>
      <p:sp>
        <p:nvSpPr>
          <p:cNvPr id="3" name="Picture Placeholder 2">
            <a:extLst>
              <a:ext uri="{FF2B5EF4-FFF2-40B4-BE49-F238E27FC236}">
                <a16:creationId xmlns:a16="http://schemas.microsoft.com/office/drawing/2014/main" id="{A4C8A3A1-CD46-4A70-8050-AEF7F7B2356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MY"/>
          </a:p>
        </p:txBody>
      </p:sp>
      <p:sp>
        <p:nvSpPr>
          <p:cNvPr id="4" name="Text Placeholder 3">
            <a:extLst>
              <a:ext uri="{FF2B5EF4-FFF2-40B4-BE49-F238E27FC236}">
                <a16:creationId xmlns:a16="http://schemas.microsoft.com/office/drawing/2014/main" id="{03EC271F-7912-451F-A601-8838455A30B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297434B-BC5E-4885-BD99-E9E15AAD0665}"/>
              </a:ext>
            </a:extLst>
          </p:cNvPr>
          <p:cNvSpPr>
            <a:spLocks noGrp="1"/>
          </p:cNvSpPr>
          <p:nvPr>
            <p:ph type="dt" sz="half" idx="10"/>
          </p:nvPr>
        </p:nvSpPr>
        <p:spPr/>
        <p:txBody>
          <a:bodyPr/>
          <a:lstStyle/>
          <a:p>
            <a:fld id="{E347C6FA-BE73-4587-B477-CFD063C0DFD4}" type="datetimeFigureOut">
              <a:rPr lang="en-MY" smtClean="0"/>
              <a:t>28/12/2021</a:t>
            </a:fld>
            <a:endParaRPr lang="en-MY"/>
          </a:p>
        </p:txBody>
      </p:sp>
      <p:sp>
        <p:nvSpPr>
          <p:cNvPr id="6" name="Footer Placeholder 5">
            <a:extLst>
              <a:ext uri="{FF2B5EF4-FFF2-40B4-BE49-F238E27FC236}">
                <a16:creationId xmlns:a16="http://schemas.microsoft.com/office/drawing/2014/main" id="{DDF6EF33-7F3D-4446-934E-DF4904A9AE78}"/>
              </a:ext>
            </a:extLst>
          </p:cNvPr>
          <p:cNvSpPr>
            <a:spLocks noGrp="1"/>
          </p:cNvSpPr>
          <p:nvPr>
            <p:ph type="ftr" sz="quarter" idx="11"/>
          </p:nvPr>
        </p:nvSpPr>
        <p:spPr/>
        <p:txBody>
          <a:bodyPr/>
          <a:lstStyle/>
          <a:p>
            <a:endParaRPr lang="en-MY"/>
          </a:p>
        </p:txBody>
      </p:sp>
      <p:sp>
        <p:nvSpPr>
          <p:cNvPr id="7" name="Slide Number Placeholder 6">
            <a:extLst>
              <a:ext uri="{FF2B5EF4-FFF2-40B4-BE49-F238E27FC236}">
                <a16:creationId xmlns:a16="http://schemas.microsoft.com/office/drawing/2014/main" id="{5C5F2BEF-F3C4-46C6-874A-3F9F6788603C}"/>
              </a:ext>
            </a:extLst>
          </p:cNvPr>
          <p:cNvSpPr>
            <a:spLocks noGrp="1"/>
          </p:cNvSpPr>
          <p:nvPr>
            <p:ph type="sldNum" sz="quarter" idx="12"/>
          </p:nvPr>
        </p:nvSpPr>
        <p:spPr/>
        <p:txBody>
          <a:bodyPr/>
          <a:lstStyle/>
          <a:p>
            <a:fld id="{D487DE5B-3C49-4DC6-8CB2-A5E272B28159}" type="slidenum">
              <a:rPr lang="en-MY" smtClean="0"/>
              <a:t>‹#›</a:t>
            </a:fld>
            <a:endParaRPr lang="en-MY"/>
          </a:p>
        </p:txBody>
      </p:sp>
    </p:spTree>
    <p:extLst>
      <p:ext uri="{BB962C8B-B14F-4D97-AF65-F5344CB8AC3E}">
        <p14:creationId xmlns:p14="http://schemas.microsoft.com/office/powerpoint/2010/main" val="37798298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ACC5C94-FF48-4D84-9CC0-4CCB69F5775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MY"/>
          </a:p>
        </p:txBody>
      </p:sp>
      <p:sp>
        <p:nvSpPr>
          <p:cNvPr id="3" name="Text Placeholder 2">
            <a:extLst>
              <a:ext uri="{FF2B5EF4-FFF2-40B4-BE49-F238E27FC236}">
                <a16:creationId xmlns:a16="http://schemas.microsoft.com/office/drawing/2014/main" id="{46553AFB-BE01-4111-9979-CD95F587227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4" name="Date Placeholder 3">
            <a:extLst>
              <a:ext uri="{FF2B5EF4-FFF2-40B4-BE49-F238E27FC236}">
                <a16:creationId xmlns:a16="http://schemas.microsoft.com/office/drawing/2014/main" id="{109C8877-1049-4CC5-928A-D88EBA476BF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347C6FA-BE73-4587-B477-CFD063C0DFD4}" type="datetimeFigureOut">
              <a:rPr lang="en-MY" smtClean="0"/>
              <a:t>28/12/2021</a:t>
            </a:fld>
            <a:endParaRPr lang="en-MY"/>
          </a:p>
        </p:txBody>
      </p:sp>
      <p:sp>
        <p:nvSpPr>
          <p:cNvPr id="5" name="Footer Placeholder 4">
            <a:extLst>
              <a:ext uri="{FF2B5EF4-FFF2-40B4-BE49-F238E27FC236}">
                <a16:creationId xmlns:a16="http://schemas.microsoft.com/office/drawing/2014/main" id="{849B0045-8C15-4346-9641-617CF45D138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MY"/>
          </a:p>
        </p:txBody>
      </p:sp>
      <p:sp>
        <p:nvSpPr>
          <p:cNvPr id="6" name="Slide Number Placeholder 5">
            <a:extLst>
              <a:ext uri="{FF2B5EF4-FFF2-40B4-BE49-F238E27FC236}">
                <a16:creationId xmlns:a16="http://schemas.microsoft.com/office/drawing/2014/main" id="{C9206B43-DB34-4292-806C-F6B746DCCB0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487DE5B-3C49-4DC6-8CB2-A5E272B28159}" type="slidenum">
              <a:rPr lang="en-MY" smtClean="0"/>
              <a:t>‹#›</a:t>
            </a:fld>
            <a:endParaRPr lang="en-MY"/>
          </a:p>
        </p:txBody>
      </p:sp>
    </p:spTree>
    <p:extLst>
      <p:ext uri="{BB962C8B-B14F-4D97-AF65-F5344CB8AC3E}">
        <p14:creationId xmlns:p14="http://schemas.microsoft.com/office/powerpoint/2010/main" val="112803037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9.jpeg"/><Relationship Id="rId2" Type="http://schemas.openxmlformats.org/officeDocument/2006/relationships/image" Target="../media/image24.jpeg"/><Relationship Id="rId1" Type="http://schemas.openxmlformats.org/officeDocument/2006/relationships/slideLayout" Target="../slideLayouts/slideLayout2.xml"/><Relationship Id="rId6" Type="http://schemas.openxmlformats.org/officeDocument/2006/relationships/image" Target="../media/image28.png"/><Relationship Id="rId5" Type="http://schemas.openxmlformats.org/officeDocument/2006/relationships/image" Target="../media/image27.jpeg"/><Relationship Id="rId4" Type="http://schemas.openxmlformats.org/officeDocument/2006/relationships/image" Target="../media/image26.png"/></Relationships>
</file>

<file path=ppt/slides/_rels/slide13.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png"/><Relationship Id="rId3" Type="http://schemas.openxmlformats.org/officeDocument/2006/relationships/image" Target="../media/image31.png"/><Relationship Id="rId7" Type="http://schemas.openxmlformats.org/officeDocument/2006/relationships/image" Target="../media/image35.png"/><Relationship Id="rId12" Type="http://schemas.openxmlformats.org/officeDocument/2006/relationships/image" Target="../media/image40.png"/><Relationship Id="rId2" Type="http://schemas.openxmlformats.org/officeDocument/2006/relationships/image" Target="../media/image30.png"/><Relationship Id="rId1" Type="http://schemas.openxmlformats.org/officeDocument/2006/relationships/slideLayout" Target="../slideLayouts/slideLayout2.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12.xml"/><Relationship Id="rId4" Type="http://schemas.openxmlformats.org/officeDocument/2006/relationships/image" Target="../media/image7.jpeg"/></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 Id="rId4" Type="http://schemas.openxmlformats.org/officeDocument/2006/relationships/image" Target="../media/image10.jpe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Layout" Target="../slideLayouts/slideLayout2.xml"/><Relationship Id="rId4" Type="http://schemas.openxmlformats.org/officeDocument/2006/relationships/image" Target="../media/image13.jpeg"/></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19.jpeg"/><Relationship Id="rId2" Type="http://schemas.openxmlformats.org/officeDocument/2006/relationships/image" Target="../media/image14.png"/><Relationship Id="rId1" Type="http://schemas.openxmlformats.org/officeDocument/2006/relationships/slideLayout" Target="../slideLayouts/slideLayout7.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76F9B-9973-4728-88A0-51F91DC0B1EA}"/>
              </a:ext>
            </a:extLst>
          </p:cNvPr>
          <p:cNvSpPr>
            <a:spLocks noGrp="1"/>
          </p:cNvSpPr>
          <p:nvPr>
            <p:ph type="ctrTitle"/>
          </p:nvPr>
        </p:nvSpPr>
        <p:spPr/>
        <p:txBody>
          <a:bodyPr>
            <a:noAutofit/>
          </a:bodyPr>
          <a:lstStyle/>
          <a:p>
            <a:pPr marL="0" marR="0" algn="ctr">
              <a:lnSpc>
                <a:spcPct val="107000"/>
              </a:lnSpc>
              <a:spcBef>
                <a:spcPts val="0"/>
              </a:spcBef>
              <a:spcAft>
                <a:spcPts val="0"/>
              </a:spcAft>
              <a:tabLst>
                <a:tab pos="2865755" algn="ctr"/>
                <a:tab pos="5731510" algn="r"/>
              </a:tabLst>
            </a:pPr>
            <a:r>
              <a:rPr lang="en-GB" sz="2800" b="1" dirty="0">
                <a:effectLst/>
                <a:latin typeface="Arial" panose="020B0604020202020204" pitchFamily="34" charset="0"/>
                <a:ea typeface="Times New Roman" panose="02020603050405020304" pitchFamily="18" charset="0"/>
                <a:cs typeface="Arial" panose="020B0604020202020204" pitchFamily="34" charset="0"/>
              </a:rPr>
              <a:t>Intersessional Seminar on A</a:t>
            </a:r>
            <a:r>
              <a:rPr lang="en-GB" sz="2800" b="1" dirty="0">
                <a:effectLst/>
                <a:latin typeface="Arial" panose="020B0604020202020204" pitchFamily="34" charset="0"/>
                <a:ea typeface="Calibri" panose="020F0502020204030204" pitchFamily="34" charset="0"/>
                <a:cs typeface="Arial" panose="020B0604020202020204" pitchFamily="34" charset="0"/>
              </a:rPr>
              <a:t>ccess to Medicines and Vaccines in the Context of the Right of Everyone to the Enjoyment of the Highest Attainable Standard of Physical and Mental Health</a:t>
            </a:r>
            <a:r>
              <a:rPr lang="en-GB" sz="2800" b="1" dirty="0">
                <a:effectLst/>
                <a:latin typeface="Arial" panose="020B0604020202020204" pitchFamily="34" charset="0"/>
                <a:ea typeface="Times New Roman" panose="02020603050405020304" pitchFamily="18" charset="0"/>
                <a:cs typeface="Arial" panose="020B0604020202020204" pitchFamily="34" charset="0"/>
              </a:rPr>
              <a:t> </a:t>
            </a:r>
            <a:endParaRPr lang="en-MY" sz="2800" dirty="0">
              <a:effectLst/>
              <a:latin typeface="Arial" panose="020B0604020202020204" pitchFamily="34" charset="0"/>
              <a:ea typeface="Calibri" panose="020F0502020204030204" pitchFamily="34" charset="0"/>
              <a:cs typeface="Arial" panose="020B0604020202020204" pitchFamily="34" charset="0"/>
            </a:endParaRPr>
          </a:p>
        </p:txBody>
      </p:sp>
      <p:sp>
        <p:nvSpPr>
          <p:cNvPr id="3" name="Subtitle 2">
            <a:extLst>
              <a:ext uri="{FF2B5EF4-FFF2-40B4-BE49-F238E27FC236}">
                <a16:creationId xmlns:a16="http://schemas.microsoft.com/office/drawing/2014/main" id="{380C7714-2E02-4F82-9A78-1128661CECAC}"/>
              </a:ext>
            </a:extLst>
          </p:cNvPr>
          <p:cNvSpPr>
            <a:spLocks noGrp="1"/>
          </p:cNvSpPr>
          <p:nvPr>
            <p:ph type="subTitle" idx="1"/>
          </p:nvPr>
        </p:nvSpPr>
        <p:spPr/>
        <p:txBody>
          <a:bodyPr/>
          <a:lstStyle/>
          <a:p>
            <a:r>
              <a:rPr lang="en-US" dirty="0"/>
              <a:t>Human rights challenges in the context of the Covid-19 pandemic, with a special focus on developing countries, particularly their poorest and most vulnerable populations</a:t>
            </a:r>
            <a:endParaRPr lang="en-MY" dirty="0"/>
          </a:p>
        </p:txBody>
      </p:sp>
      <p:pic>
        <p:nvPicPr>
          <p:cNvPr id="4" name="Picture 3">
            <a:extLst>
              <a:ext uri="{FF2B5EF4-FFF2-40B4-BE49-F238E27FC236}">
                <a16:creationId xmlns:a16="http://schemas.microsoft.com/office/drawing/2014/main" id="{78A941B0-A5BB-46B0-9228-E02536D2659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36290" y="119756"/>
            <a:ext cx="654957" cy="723900"/>
          </a:xfrm>
          <a:prstGeom prst="rect">
            <a:avLst/>
          </a:prstGeom>
        </p:spPr>
      </p:pic>
      <p:pic>
        <p:nvPicPr>
          <p:cNvPr id="5" name="Picture 2" descr="CERiA – Centre of Excellence For Research in AIDS">
            <a:extLst>
              <a:ext uri="{FF2B5EF4-FFF2-40B4-BE49-F238E27FC236}">
                <a16:creationId xmlns:a16="http://schemas.microsoft.com/office/drawing/2014/main" id="{1E4D29A3-AD92-4458-BB70-8404ED8D8E69}"/>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935373" y="301682"/>
            <a:ext cx="1052818" cy="4700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32791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CFF1A3-D2C0-4161-85AE-2534962EF4E3}"/>
              </a:ext>
            </a:extLst>
          </p:cNvPr>
          <p:cNvSpPr>
            <a:spLocks noGrp="1"/>
          </p:cNvSpPr>
          <p:nvPr>
            <p:ph type="title"/>
          </p:nvPr>
        </p:nvSpPr>
        <p:spPr/>
        <p:txBody>
          <a:bodyPr/>
          <a:lstStyle/>
          <a:p>
            <a:endParaRPr lang="en-MY"/>
          </a:p>
        </p:txBody>
      </p:sp>
      <p:sp>
        <p:nvSpPr>
          <p:cNvPr id="3" name="Text Placeholder 2">
            <a:extLst>
              <a:ext uri="{FF2B5EF4-FFF2-40B4-BE49-F238E27FC236}">
                <a16:creationId xmlns:a16="http://schemas.microsoft.com/office/drawing/2014/main" id="{CAD79A62-3AA5-48FA-B243-B20A86157F36}"/>
              </a:ext>
            </a:extLst>
          </p:cNvPr>
          <p:cNvSpPr>
            <a:spLocks noGrp="1"/>
          </p:cNvSpPr>
          <p:nvPr>
            <p:ph type="body" idx="1"/>
          </p:nvPr>
        </p:nvSpPr>
        <p:spPr/>
        <p:txBody>
          <a:bodyPr/>
          <a:lstStyle/>
          <a:p>
            <a:endParaRPr lang="en-MY" dirty="0"/>
          </a:p>
        </p:txBody>
      </p:sp>
      <p:pic>
        <p:nvPicPr>
          <p:cNvPr id="5" name="Picture 4">
            <a:extLst>
              <a:ext uri="{FF2B5EF4-FFF2-40B4-BE49-F238E27FC236}">
                <a16:creationId xmlns:a16="http://schemas.microsoft.com/office/drawing/2014/main" id="{9E8AFEEB-BACA-48B1-994E-8D2FA194FE9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00225" y="474743"/>
            <a:ext cx="11396391" cy="5908514"/>
          </a:xfrm>
          <a:prstGeom prst="rect">
            <a:avLst/>
          </a:prstGeom>
        </p:spPr>
      </p:pic>
    </p:spTree>
    <p:extLst>
      <p:ext uri="{BB962C8B-B14F-4D97-AF65-F5344CB8AC3E}">
        <p14:creationId xmlns:p14="http://schemas.microsoft.com/office/powerpoint/2010/main" val="12034786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25DA74-ED8B-4D19-B468-55BF1B85173A}"/>
              </a:ext>
            </a:extLst>
          </p:cNvPr>
          <p:cNvSpPr>
            <a:spLocks noGrp="1"/>
          </p:cNvSpPr>
          <p:nvPr>
            <p:ph type="title"/>
          </p:nvPr>
        </p:nvSpPr>
        <p:spPr/>
        <p:txBody>
          <a:bodyPr/>
          <a:lstStyle/>
          <a:p>
            <a:endParaRPr lang="en-MY"/>
          </a:p>
        </p:txBody>
      </p:sp>
      <p:sp>
        <p:nvSpPr>
          <p:cNvPr id="3" name="Content Placeholder 2">
            <a:extLst>
              <a:ext uri="{FF2B5EF4-FFF2-40B4-BE49-F238E27FC236}">
                <a16:creationId xmlns:a16="http://schemas.microsoft.com/office/drawing/2014/main" id="{28C5C6A9-6C66-46D7-AEDB-2C83F3F73585}"/>
              </a:ext>
            </a:extLst>
          </p:cNvPr>
          <p:cNvSpPr>
            <a:spLocks noGrp="1"/>
          </p:cNvSpPr>
          <p:nvPr>
            <p:ph idx="1"/>
          </p:nvPr>
        </p:nvSpPr>
        <p:spPr/>
        <p:txBody>
          <a:bodyPr/>
          <a:lstStyle/>
          <a:p>
            <a:endParaRPr lang="en-MY"/>
          </a:p>
        </p:txBody>
      </p:sp>
      <p:pic>
        <p:nvPicPr>
          <p:cNvPr id="5" name="Picture 4">
            <a:extLst>
              <a:ext uri="{FF2B5EF4-FFF2-40B4-BE49-F238E27FC236}">
                <a16:creationId xmlns:a16="http://schemas.microsoft.com/office/drawing/2014/main" id="{E0A4F473-9AF6-45AA-813C-FDD2777A57B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943147" y="96474"/>
            <a:ext cx="7930696" cy="6581163"/>
          </a:xfrm>
          <a:prstGeom prst="rect">
            <a:avLst/>
          </a:prstGeom>
        </p:spPr>
      </p:pic>
    </p:spTree>
    <p:extLst>
      <p:ext uri="{BB962C8B-B14F-4D97-AF65-F5344CB8AC3E}">
        <p14:creationId xmlns:p14="http://schemas.microsoft.com/office/powerpoint/2010/main" val="21252511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2F07CC-6C79-412D-B24F-AD648AE2302D}"/>
              </a:ext>
            </a:extLst>
          </p:cNvPr>
          <p:cNvSpPr>
            <a:spLocks noGrp="1"/>
          </p:cNvSpPr>
          <p:nvPr>
            <p:ph type="title"/>
          </p:nvPr>
        </p:nvSpPr>
        <p:spPr/>
        <p:txBody>
          <a:bodyPr/>
          <a:lstStyle/>
          <a:p>
            <a:endParaRPr lang="en-MY" dirty="0"/>
          </a:p>
        </p:txBody>
      </p:sp>
      <p:pic>
        <p:nvPicPr>
          <p:cNvPr id="7" name="Picture 6">
            <a:extLst>
              <a:ext uri="{FF2B5EF4-FFF2-40B4-BE49-F238E27FC236}">
                <a16:creationId xmlns:a16="http://schemas.microsoft.com/office/drawing/2014/main" id="{13EC5EA5-70F9-49F5-9BFF-D4ECB2A57B9C}"/>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63617" y="585061"/>
            <a:ext cx="7000065" cy="3290327"/>
          </a:xfrm>
          <a:prstGeom prst="rect">
            <a:avLst/>
          </a:prstGeom>
        </p:spPr>
      </p:pic>
      <p:pic>
        <p:nvPicPr>
          <p:cNvPr id="10" name="Content Placeholder 9">
            <a:extLst>
              <a:ext uri="{FF2B5EF4-FFF2-40B4-BE49-F238E27FC236}">
                <a16:creationId xmlns:a16="http://schemas.microsoft.com/office/drawing/2014/main" id="{D922C7DF-1190-40C7-B2D9-FD398D471AA8}"/>
              </a:ext>
            </a:extLst>
          </p:cNvPr>
          <p:cNvPicPr>
            <a:picLocks noGrp="1" noChangeAspect="1"/>
          </p:cNvPicPr>
          <p:nvPr>
            <p:ph idx="1"/>
          </p:nvPr>
        </p:nvPicPr>
        <p:blipFill>
          <a:blip r:embed="rId3" cstate="screen">
            <a:extLst>
              <a:ext uri="{28A0092B-C50C-407E-A947-70E740481C1C}">
                <a14:useLocalDpi xmlns:a14="http://schemas.microsoft.com/office/drawing/2010/main"/>
              </a:ext>
            </a:extLst>
          </a:blip>
          <a:stretch>
            <a:fillRect/>
          </a:stretch>
        </p:blipFill>
        <p:spPr>
          <a:xfrm>
            <a:off x="603694" y="3956025"/>
            <a:ext cx="3586606" cy="2692615"/>
          </a:xfrm>
          <a:prstGeom prst="rect">
            <a:avLst/>
          </a:prstGeom>
        </p:spPr>
      </p:pic>
      <p:pic>
        <p:nvPicPr>
          <p:cNvPr id="8" name="Picture 7">
            <a:extLst>
              <a:ext uri="{FF2B5EF4-FFF2-40B4-BE49-F238E27FC236}">
                <a16:creationId xmlns:a16="http://schemas.microsoft.com/office/drawing/2014/main" id="{FB21F650-4367-429D-A660-B0FBB24E57A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223550" y="145674"/>
            <a:ext cx="3416175" cy="3502677"/>
          </a:xfrm>
          <a:prstGeom prst="rect">
            <a:avLst/>
          </a:prstGeom>
        </p:spPr>
      </p:pic>
      <p:sp>
        <p:nvSpPr>
          <p:cNvPr id="11" name="AutoShape 2">
            <a:extLst>
              <a:ext uri="{FF2B5EF4-FFF2-40B4-BE49-F238E27FC236}">
                <a16:creationId xmlns:a16="http://schemas.microsoft.com/office/drawing/2014/main" id="{5A77B9DD-CEAC-47A7-B827-C5A5296545A3}"/>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MY"/>
          </a:p>
        </p:txBody>
      </p:sp>
      <p:pic>
        <p:nvPicPr>
          <p:cNvPr id="12" name="Picture 11">
            <a:extLst>
              <a:ext uri="{FF2B5EF4-FFF2-40B4-BE49-F238E27FC236}">
                <a16:creationId xmlns:a16="http://schemas.microsoft.com/office/drawing/2014/main" id="{7E9269E2-B1F0-4CA6-8830-56B8262CEFE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223550" y="3956025"/>
            <a:ext cx="3502624" cy="2621495"/>
          </a:xfrm>
          <a:prstGeom prst="rect">
            <a:avLst/>
          </a:prstGeom>
        </p:spPr>
      </p:pic>
      <p:pic>
        <p:nvPicPr>
          <p:cNvPr id="13" name="Picture 12">
            <a:extLst>
              <a:ext uri="{FF2B5EF4-FFF2-40B4-BE49-F238E27FC236}">
                <a16:creationId xmlns:a16="http://schemas.microsoft.com/office/drawing/2014/main" id="{D54FA761-1328-4850-AB6F-8257DEA55B9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23793" y="145674"/>
            <a:ext cx="1147807" cy="350562"/>
          </a:xfrm>
          <a:prstGeom prst="rect">
            <a:avLst/>
          </a:prstGeom>
        </p:spPr>
      </p:pic>
      <p:pic>
        <p:nvPicPr>
          <p:cNvPr id="14" name="Picture 13">
            <a:extLst>
              <a:ext uri="{FF2B5EF4-FFF2-40B4-BE49-F238E27FC236}">
                <a16:creationId xmlns:a16="http://schemas.microsoft.com/office/drawing/2014/main" id="{4E06AF0F-4417-4F40-B807-BDB7D7ED830B}"/>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4872605" y="3189979"/>
            <a:ext cx="2751589" cy="3466849"/>
          </a:xfrm>
          <a:prstGeom prst="rect">
            <a:avLst/>
          </a:prstGeom>
        </p:spPr>
      </p:pic>
    </p:spTree>
    <p:extLst>
      <p:ext uri="{BB962C8B-B14F-4D97-AF65-F5344CB8AC3E}">
        <p14:creationId xmlns:p14="http://schemas.microsoft.com/office/powerpoint/2010/main" val="19857255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960120" y="44195"/>
            <a:ext cx="47625" cy="637540"/>
          </a:xfrm>
          <a:custGeom>
            <a:avLst/>
            <a:gdLst/>
            <a:ahLst/>
            <a:cxnLst/>
            <a:rect l="l" t="t" r="r" b="b"/>
            <a:pathLst>
              <a:path w="47625" h="637540">
                <a:moveTo>
                  <a:pt x="47244" y="554736"/>
                </a:moveTo>
                <a:lnTo>
                  <a:pt x="0" y="554736"/>
                </a:lnTo>
                <a:lnTo>
                  <a:pt x="0" y="637032"/>
                </a:lnTo>
                <a:lnTo>
                  <a:pt x="47244" y="554736"/>
                </a:lnTo>
                <a:close/>
              </a:path>
              <a:path w="47625" h="637540">
                <a:moveTo>
                  <a:pt x="47244" y="80772"/>
                </a:moveTo>
                <a:lnTo>
                  <a:pt x="0" y="0"/>
                </a:lnTo>
                <a:lnTo>
                  <a:pt x="0" y="80772"/>
                </a:lnTo>
                <a:lnTo>
                  <a:pt x="47244" y="80772"/>
                </a:lnTo>
                <a:close/>
              </a:path>
            </a:pathLst>
          </a:custGeom>
          <a:solidFill>
            <a:srgbClr val="1F3863"/>
          </a:solidFill>
        </p:spPr>
        <p:txBody>
          <a:bodyPr wrap="square" lIns="0" tIns="0" rIns="0" bIns="0" rtlCol="0"/>
          <a:lstStyle/>
          <a:p>
            <a:endParaRPr/>
          </a:p>
        </p:txBody>
      </p:sp>
      <p:sp>
        <p:nvSpPr>
          <p:cNvPr id="3" name="object 3"/>
          <p:cNvSpPr txBox="1">
            <a:spLocks noGrp="1"/>
          </p:cNvSpPr>
          <p:nvPr>
            <p:ph type="title"/>
          </p:nvPr>
        </p:nvSpPr>
        <p:spPr>
          <a:xfrm>
            <a:off x="3500373" y="110490"/>
            <a:ext cx="6242685" cy="452120"/>
          </a:xfrm>
          <a:prstGeom prst="rect">
            <a:avLst/>
          </a:prstGeom>
        </p:spPr>
        <p:txBody>
          <a:bodyPr vert="horz" wrap="square" lIns="0" tIns="12065" rIns="0" bIns="0" rtlCol="0">
            <a:spAutoFit/>
          </a:bodyPr>
          <a:lstStyle/>
          <a:p>
            <a:pPr marL="12700">
              <a:lnSpc>
                <a:spcPct val="100000"/>
              </a:lnSpc>
              <a:spcBef>
                <a:spcPts val="95"/>
              </a:spcBef>
            </a:pPr>
            <a:r>
              <a:rPr sz="2800" b="0" spc="-35" dirty="0">
                <a:solidFill>
                  <a:srgbClr val="FFFFFF"/>
                </a:solidFill>
                <a:latin typeface="Arial Black"/>
                <a:cs typeface="Arial Black"/>
              </a:rPr>
              <a:t>PUBLIC-PRIVATE</a:t>
            </a:r>
            <a:r>
              <a:rPr sz="2800" b="0" spc="30" dirty="0">
                <a:solidFill>
                  <a:srgbClr val="FFFFFF"/>
                </a:solidFill>
                <a:latin typeface="Arial Black"/>
                <a:cs typeface="Arial Black"/>
              </a:rPr>
              <a:t> </a:t>
            </a:r>
            <a:r>
              <a:rPr sz="2800" b="0" spc="-35" dirty="0">
                <a:solidFill>
                  <a:srgbClr val="FFFFFF"/>
                </a:solidFill>
                <a:latin typeface="Arial Black"/>
                <a:cs typeface="Arial Black"/>
              </a:rPr>
              <a:t>PARTNERSHIP</a:t>
            </a:r>
            <a:endParaRPr sz="2800">
              <a:latin typeface="Arial Black"/>
              <a:cs typeface="Arial Black"/>
            </a:endParaRPr>
          </a:p>
        </p:txBody>
      </p:sp>
      <p:pic>
        <p:nvPicPr>
          <p:cNvPr id="4" name="object 4"/>
          <p:cNvPicPr/>
          <p:nvPr/>
        </p:nvPicPr>
        <p:blipFill>
          <a:blip r:embed="rId2" cstate="screen">
            <a:extLst>
              <a:ext uri="{28A0092B-C50C-407E-A947-70E740481C1C}">
                <a14:useLocalDpi xmlns:a14="http://schemas.microsoft.com/office/drawing/2010/main"/>
              </a:ext>
            </a:extLst>
          </a:blip>
          <a:stretch>
            <a:fillRect/>
          </a:stretch>
        </p:blipFill>
        <p:spPr>
          <a:xfrm>
            <a:off x="211836" y="109728"/>
            <a:ext cx="737615" cy="473963"/>
          </a:xfrm>
          <a:prstGeom prst="rect">
            <a:avLst/>
          </a:prstGeom>
        </p:spPr>
      </p:pic>
      <p:sp>
        <p:nvSpPr>
          <p:cNvPr id="5" name="object 5"/>
          <p:cNvSpPr txBox="1"/>
          <p:nvPr/>
        </p:nvSpPr>
        <p:spPr>
          <a:xfrm>
            <a:off x="11834621" y="230505"/>
            <a:ext cx="269240" cy="239395"/>
          </a:xfrm>
          <a:prstGeom prst="rect">
            <a:avLst/>
          </a:prstGeom>
        </p:spPr>
        <p:txBody>
          <a:bodyPr vert="horz" wrap="square" lIns="0" tIns="12700" rIns="0" bIns="0" rtlCol="0">
            <a:spAutoFit/>
          </a:bodyPr>
          <a:lstStyle/>
          <a:p>
            <a:pPr marL="12700">
              <a:lnSpc>
                <a:spcPct val="100000"/>
              </a:lnSpc>
              <a:spcBef>
                <a:spcPts val="100"/>
              </a:spcBef>
            </a:pPr>
            <a:r>
              <a:rPr sz="1400" b="1" spc="125" dirty="0">
                <a:solidFill>
                  <a:srgbClr val="FFFFFF"/>
                </a:solidFill>
                <a:latin typeface="Cambria"/>
                <a:cs typeface="Cambria"/>
              </a:rPr>
              <a:t>18</a:t>
            </a:r>
            <a:endParaRPr sz="1400">
              <a:latin typeface="Cambria"/>
              <a:cs typeface="Cambria"/>
            </a:endParaRPr>
          </a:p>
        </p:txBody>
      </p:sp>
      <p:sp>
        <p:nvSpPr>
          <p:cNvPr id="6" name="object 6"/>
          <p:cNvSpPr txBox="1"/>
          <p:nvPr/>
        </p:nvSpPr>
        <p:spPr>
          <a:xfrm>
            <a:off x="1015085" y="3703066"/>
            <a:ext cx="2258695" cy="3016250"/>
          </a:xfrm>
          <a:prstGeom prst="rect">
            <a:avLst/>
          </a:prstGeom>
        </p:spPr>
        <p:txBody>
          <a:bodyPr vert="horz" wrap="square" lIns="0" tIns="12065" rIns="0" bIns="0" rtlCol="0">
            <a:spAutoFit/>
          </a:bodyPr>
          <a:lstStyle/>
          <a:p>
            <a:pPr marL="12700" marR="946150" algn="just">
              <a:lnSpc>
                <a:spcPct val="136300"/>
              </a:lnSpc>
              <a:spcBef>
                <a:spcPts val="95"/>
              </a:spcBef>
            </a:pPr>
            <a:r>
              <a:rPr sz="1800" spc="-5" dirty="0">
                <a:latin typeface="Arial"/>
                <a:cs typeface="Arial"/>
              </a:rPr>
              <a:t>Ambulances </a:t>
            </a:r>
            <a:r>
              <a:rPr sz="1800" spc="-490" dirty="0">
                <a:latin typeface="Arial"/>
                <a:cs typeface="Arial"/>
              </a:rPr>
              <a:t> </a:t>
            </a:r>
            <a:r>
              <a:rPr sz="1800" dirty="0">
                <a:latin typeface="Arial"/>
                <a:cs typeface="Arial"/>
              </a:rPr>
              <a:t>MPV </a:t>
            </a:r>
            <a:r>
              <a:rPr sz="1800" spc="-5" dirty="0">
                <a:latin typeface="Arial"/>
                <a:cs typeface="Arial"/>
              </a:rPr>
              <a:t>Starex </a:t>
            </a:r>
            <a:r>
              <a:rPr sz="1800" dirty="0">
                <a:latin typeface="Arial"/>
                <a:cs typeface="Arial"/>
              </a:rPr>
              <a:t> </a:t>
            </a:r>
            <a:r>
              <a:rPr sz="1800" spc="-5" dirty="0">
                <a:latin typeface="Arial"/>
                <a:cs typeface="Arial"/>
              </a:rPr>
              <a:t>H</a:t>
            </a:r>
            <a:r>
              <a:rPr sz="1800" spc="-15" dirty="0">
                <a:latin typeface="Arial"/>
                <a:cs typeface="Arial"/>
              </a:rPr>
              <a:t>a</a:t>
            </a:r>
            <a:r>
              <a:rPr sz="1800" spc="-5" dirty="0">
                <a:latin typeface="Arial"/>
                <a:cs typeface="Arial"/>
              </a:rPr>
              <a:t>n</a:t>
            </a:r>
            <a:r>
              <a:rPr sz="1800" spc="-15" dirty="0">
                <a:latin typeface="Arial"/>
                <a:cs typeface="Arial"/>
              </a:rPr>
              <a:t>d</a:t>
            </a:r>
            <a:r>
              <a:rPr sz="1800" spc="-5" dirty="0">
                <a:latin typeface="Arial"/>
                <a:cs typeface="Arial"/>
              </a:rPr>
              <a:t>p</a:t>
            </a:r>
            <a:r>
              <a:rPr sz="1800" spc="-15" dirty="0">
                <a:latin typeface="Arial"/>
                <a:cs typeface="Arial"/>
              </a:rPr>
              <a:t>h</a:t>
            </a:r>
            <a:r>
              <a:rPr sz="1800" spc="-5" dirty="0">
                <a:latin typeface="Arial"/>
                <a:cs typeface="Arial"/>
              </a:rPr>
              <a:t>o</a:t>
            </a:r>
            <a:r>
              <a:rPr sz="1800" spc="-15" dirty="0">
                <a:latin typeface="Arial"/>
                <a:cs typeface="Arial"/>
              </a:rPr>
              <a:t>n</a:t>
            </a:r>
            <a:r>
              <a:rPr sz="1800" spc="-5" dirty="0">
                <a:latin typeface="Arial"/>
                <a:cs typeface="Arial"/>
              </a:rPr>
              <a:t>es  Laptops</a:t>
            </a:r>
            <a:endParaRPr sz="1800">
              <a:latin typeface="Arial"/>
              <a:cs typeface="Arial"/>
            </a:endParaRPr>
          </a:p>
          <a:p>
            <a:pPr marL="12700">
              <a:lnSpc>
                <a:spcPct val="100000"/>
              </a:lnSpc>
              <a:spcBef>
                <a:spcPts val="780"/>
              </a:spcBef>
            </a:pPr>
            <a:r>
              <a:rPr sz="1800" spc="-5" dirty="0">
                <a:latin typeface="Arial"/>
                <a:cs typeface="Arial"/>
              </a:rPr>
              <a:t>Pulse</a:t>
            </a:r>
            <a:r>
              <a:rPr sz="1800" spc="-30" dirty="0">
                <a:latin typeface="Arial"/>
                <a:cs typeface="Arial"/>
              </a:rPr>
              <a:t> </a:t>
            </a:r>
            <a:r>
              <a:rPr sz="1800" spc="-5" dirty="0">
                <a:latin typeface="Arial"/>
                <a:cs typeface="Arial"/>
              </a:rPr>
              <a:t>oximeters</a:t>
            </a:r>
            <a:endParaRPr sz="1800">
              <a:latin typeface="Arial"/>
              <a:cs typeface="Arial"/>
            </a:endParaRPr>
          </a:p>
          <a:p>
            <a:pPr marL="12700" marR="5080">
              <a:lnSpc>
                <a:spcPct val="136100"/>
              </a:lnSpc>
              <a:spcBef>
                <a:spcPts val="15"/>
              </a:spcBef>
            </a:pPr>
            <a:r>
              <a:rPr sz="1800" spc="-10" dirty="0">
                <a:latin typeface="Arial"/>
                <a:cs typeface="Arial"/>
              </a:rPr>
              <a:t>Oxygen </a:t>
            </a:r>
            <a:r>
              <a:rPr sz="1800" spc="-5" dirty="0">
                <a:latin typeface="Arial"/>
                <a:cs typeface="Arial"/>
              </a:rPr>
              <a:t>concentrators </a:t>
            </a:r>
            <a:r>
              <a:rPr sz="1800" spc="-484" dirty="0">
                <a:latin typeface="Arial"/>
                <a:cs typeface="Arial"/>
              </a:rPr>
              <a:t> </a:t>
            </a:r>
            <a:r>
              <a:rPr sz="1800" spc="-5" dirty="0">
                <a:latin typeface="Arial"/>
                <a:cs typeface="Arial"/>
              </a:rPr>
              <a:t>Beds</a:t>
            </a:r>
            <a:endParaRPr sz="1800">
              <a:latin typeface="Arial"/>
              <a:cs typeface="Arial"/>
            </a:endParaRPr>
          </a:p>
          <a:p>
            <a:pPr marL="12700">
              <a:lnSpc>
                <a:spcPct val="100000"/>
              </a:lnSpc>
              <a:spcBef>
                <a:spcPts val="780"/>
              </a:spcBef>
            </a:pPr>
            <a:r>
              <a:rPr sz="1800" spc="-5" dirty="0">
                <a:latin typeface="Arial"/>
                <a:cs typeface="Arial"/>
              </a:rPr>
              <a:t>Field</a:t>
            </a:r>
            <a:r>
              <a:rPr sz="1800" spc="-35" dirty="0">
                <a:latin typeface="Arial"/>
                <a:cs typeface="Arial"/>
              </a:rPr>
              <a:t> </a:t>
            </a:r>
            <a:r>
              <a:rPr sz="1800" spc="-5" dirty="0">
                <a:latin typeface="Arial"/>
                <a:cs typeface="Arial"/>
              </a:rPr>
              <a:t>hospital</a:t>
            </a:r>
            <a:endParaRPr sz="1800">
              <a:latin typeface="Arial"/>
              <a:cs typeface="Arial"/>
            </a:endParaRPr>
          </a:p>
        </p:txBody>
      </p:sp>
      <p:grpSp>
        <p:nvGrpSpPr>
          <p:cNvPr id="7" name="object 7"/>
          <p:cNvGrpSpPr/>
          <p:nvPr/>
        </p:nvGrpSpPr>
        <p:grpSpPr>
          <a:xfrm>
            <a:off x="4178300" y="4678679"/>
            <a:ext cx="2014220" cy="2061210"/>
            <a:chOff x="4178300" y="4678679"/>
            <a:chExt cx="2014220" cy="2061210"/>
          </a:xfrm>
        </p:grpSpPr>
        <p:pic>
          <p:nvPicPr>
            <p:cNvPr id="8" name="object 8"/>
            <p:cNvPicPr/>
            <p:nvPr/>
          </p:nvPicPr>
          <p:blipFill>
            <a:blip r:embed="rId3" cstate="screen">
              <a:extLst>
                <a:ext uri="{28A0092B-C50C-407E-A947-70E740481C1C}">
                  <a14:useLocalDpi xmlns:a14="http://schemas.microsoft.com/office/drawing/2010/main"/>
                </a:ext>
              </a:extLst>
            </a:blip>
            <a:stretch>
              <a:fillRect/>
            </a:stretch>
          </p:blipFill>
          <p:spPr>
            <a:xfrm>
              <a:off x="4265676" y="4765547"/>
              <a:ext cx="1837944" cy="1885188"/>
            </a:xfrm>
            <a:prstGeom prst="rect">
              <a:avLst/>
            </a:prstGeom>
          </p:spPr>
        </p:pic>
        <p:sp>
          <p:nvSpPr>
            <p:cNvPr id="9" name="object 9"/>
            <p:cNvSpPr/>
            <p:nvPr/>
          </p:nvSpPr>
          <p:spPr>
            <a:xfrm>
              <a:off x="4178300" y="4678679"/>
              <a:ext cx="2014220" cy="2061210"/>
            </a:xfrm>
            <a:custGeom>
              <a:avLst/>
              <a:gdLst/>
              <a:ahLst/>
              <a:cxnLst/>
              <a:rect l="l" t="t" r="r" b="b"/>
              <a:pathLst>
                <a:path w="2014220" h="2061209">
                  <a:moveTo>
                    <a:pt x="1943100" y="71120"/>
                  </a:moveTo>
                  <a:lnTo>
                    <a:pt x="71120" y="71120"/>
                  </a:lnTo>
                  <a:lnTo>
                    <a:pt x="71120" y="88900"/>
                  </a:lnTo>
                  <a:lnTo>
                    <a:pt x="71120" y="1972310"/>
                  </a:lnTo>
                  <a:lnTo>
                    <a:pt x="71120" y="1990090"/>
                  </a:lnTo>
                  <a:lnTo>
                    <a:pt x="1943100" y="1990090"/>
                  </a:lnTo>
                  <a:lnTo>
                    <a:pt x="1943100" y="1972310"/>
                  </a:lnTo>
                  <a:lnTo>
                    <a:pt x="88900" y="1972310"/>
                  </a:lnTo>
                  <a:lnTo>
                    <a:pt x="88900" y="88900"/>
                  </a:lnTo>
                  <a:lnTo>
                    <a:pt x="1925320" y="88900"/>
                  </a:lnTo>
                  <a:lnTo>
                    <a:pt x="1925320" y="1972056"/>
                  </a:lnTo>
                  <a:lnTo>
                    <a:pt x="1943100" y="1972068"/>
                  </a:lnTo>
                  <a:lnTo>
                    <a:pt x="1943100" y="88900"/>
                  </a:lnTo>
                  <a:lnTo>
                    <a:pt x="1943100" y="88392"/>
                  </a:lnTo>
                  <a:lnTo>
                    <a:pt x="1943100" y="71120"/>
                  </a:lnTo>
                  <a:close/>
                </a:path>
                <a:path w="2014220" h="2061209">
                  <a:moveTo>
                    <a:pt x="2014220" y="0"/>
                  </a:moveTo>
                  <a:lnTo>
                    <a:pt x="0" y="0"/>
                  </a:lnTo>
                  <a:lnTo>
                    <a:pt x="0" y="53340"/>
                  </a:lnTo>
                  <a:lnTo>
                    <a:pt x="0" y="2007870"/>
                  </a:lnTo>
                  <a:lnTo>
                    <a:pt x="0" y="2061210"/>
                  </a:lnTo>
                  <a:lnTo>
                    <a:pt x="2014220" y="2061210"/>
                  </a:lnTo>
                  <a:lnTo>
                    <a:pt x="2014220" y="2007870"/>
                  </a:lnTo>
                  <a:lnTo>
                    <a:pt x="53340" y="2007870"/>
                  </a:lnTo>
                  <a:lnTo>
                    <a:pt x="53340" y="53340"/>
                  </a:lnTo>
                  <a:lnTo>
                    <a:pt x="1960880" y="53340"/>
                  </a:lnTo>
                  <a:lnTo>
                    <a:pt x="1960880" y="2007616"/>
                  </a:lnTo>
                  <a:lnTo>
                    <a:pt x="2014220" y="2007616"/>
                  </a:lnTo>
                  <a:lnTo>
                    <a:pt x="2014220" y="53340"/>
                  </a:lnTo>
                  <a:lnTo>
                    <a:pt x="2014220" y="52832"/>
                  </a:lnTo>
                  <a:lnTo>
                    <a:pt x="2014220" y="0"/>
                  </a:lnTo>
                  <a:close/>
                </a:path>
              </a:pathLst>
            </a:custGeom>
            <a:solidFill>
              <a:srgbClr val="000000"/>
            </a:solidFill>
          </p:spPr>
          <p:txBody>
            <a:bodyPr wrap="square" lIns="0" tIns="0" rIns="0" bIns="0" rtlCol="0"/>
            <a:lstStyle/>
            <a:p>
              <a:endParaRPr/>
            </a:p>
          </p:txBody>
        </p:sp>
      </p:grpSp>
      <p:grpSp>
        <p:nvGrpSpPr>
          <p:cNvPr id="10" name="object 10"/>
          <p:cNvGrpSpPr/>
          <p:nvPr/>
        </p:nvGrpSpPr>
        <p:grpSpPr>
          <a:xfrm>
            <a:off x="132587" y="716280"/>
            <a:ext cx="11920220" cy="6023610"/>
            <a:chOff x="132587" y="716280"/>
            <a:chExt cx="11920220" cy="6023610"/>
          </a:xfrm>
        </p:grpSpPr>
        <p:pic>
          <p:nvPicPr>
            <p:cNvPr id="11" name="object 11"/>
            <p:cNvPicPr/>
            <p:nvPr/>
          </p:nvPicPr>
          <p:blipFill>
            <a:blip r:embed="rId4" cstate="screen">
              <a:extLst>
                <a:ext uri="{28A0092B-C50C-407E-A947-70E740481C1C}">
                  <a14:useLocalDpi xmlns:a14="http://schemas.microsoft.com/office/drawing/2010/main"/>
                </a:ext>
              </a:extLst>
            </a:blip>
            <a:stretch>
              <a:fillRect/>
            </a:stretch>
          </p:blipFill>
          <p:spPr>
            <a:xfrm>
              <a:off x="6336791" y="2782824"/>
              <a:ext cx="3733800" cy="1760220"/>
            </a:xfrm>
            <a:prstGeom prst="rect">
              <a:avLst/>
            </a:prstGeom>
          </p:spPr>
        </p:pic>
        <p:sp>
          <p:nvSpPr>
            <p:cNvPr id="12" name="object 12"/>
            <p:cNvSpPr/>
            <p:nvPr/>
          </p:nvSpPr>
          <p:spPr>
            <a:xfrm>
              <a:off x="6249416" y="2694939"/>
              <a:ext cx="3910329" cy="1936750"/>
            </a:xfrm>
            <a:custGeom>
              <a:avLst/>
              <a:gdLst/>
              <a:ahLst/>
              <a:cxnLst/>
              <a:rect l="l" t="t" r="r" b="b"/>
              <a:pathLst>
                <a:path w="3910329" h="1936750">
                  <a:moveTo>
                    <a:pt x="3838956" y="71120"/>
                  </a:moveTo>
                  <a:lnTo>
                    <a:pt x="71120" y="71120"/>
                  </a:lnTo>
                  <a:lnTo>
                    <a:pt x="71120" y="88900"/>
                  </a:lnTo>
                  <a:lnTo>
                    <a:pt x="71120" y="1847850"/>
                  </a:lnTo>
                  <a:lnTo>
                    <a:pt x="71120" y="1865630"/>
                  </a:lnTo>
                  <a:lnTo>
                    <a:pt x="3838956" y="1865630"/>
                  </a:lnTo>
                  <a:lnTo>
                    <a:pt x="3838956" y="1848104"/>
                  </a:lnTo>
                  <a:lnTo>
                    <a:pt x="3838956" y="1847850"/>
                  </a:lnTo>
                  <a:lnTo>
                    <a:pt x="3838956" y="89408"/>
                  </a:lnTo>
                  <a:lnTo>
                    <a:pt x="3821176" y="89408"/>
                  </a:lnTo>
                  <a:lnTo>
                    <a:pt x="3821176" y="1847850"/>
                  </a:lnTo>
                  <a:lnTo>
                    <a:pt x="88900" y="1847850"/>
                  </a:lnTo>
                  <a:lnTo>
                    <a:pt x="88900" y="88900"/>
                  </a:lnTo>
                  <a:lnTo>
                    <a:pt x="3838956" y="88900"/>
                  </a:lnTo>
                  <a:lnTo>
                    <a:pt x="3838956" y="71120"/>
                  </a:lnTo>
                  <a:close/>
                </a:path>
                <a:path w="3910329" h="1936750">
                  <a:moveTo>
                    <a:pt x="3910076" y="0"/>
                  </a:moveTo>
                  <a:lnTo>
                    <a:pt x="0" y="0"/>
                  </a:lnTo>
                  <a:lnTo>
                    <a:pt x="0" y="53340"/>
                  </a:lnTo>
                  <a:lnTo>
                    <a:pt x="0" y="1883410"/>
                  </a:lnTo>
                  <a:lnTo>
                    <a:pt x="0" y="1936750"/>
                  </a:lnTo>
                  <a:lnTo>
                    <a:pt x="3910076" y="1936750"/>
                  </a:lnTo>
                  <a:lnTo>
                    <a:pt x="3910076" y="1883664"/>
                  </a:lnTo>
                  <a:lnTo>
                    <a:pt x="3910076" y="1883410"/>
                  </a:lnTo>
                  <a:lnTo>
                    <a:pt x="3910076" y="53848"/>
                  </a:lnTo>
                  <a:lnTo>
                    <a:pt x="3856736" y="53848"/>
                  </a:lnTo>
                  <a:lnTo>
                    <a:pt x="3856736" y="1883410"/>
                  </a:lnTo>
                  <a:lnTo>
                    <a:pt x="53340" y="1883410"/>
                  </a:lnTo>
                  <a:lnTo>
                    <a:pt x="53340" y="53340"/>
                  </a:lnTo>
                  <a:lnTo>
                    <a:pt x="3910076" y="53340"/>
                  </a:lnTo>
                  <a:lnTo>
                    <a:pt x="3910076" y="0"/>
                  </a:lnTo>
                  <a:close/>
                </a:path>
              </a:pathLst>
            </a:custGeom>
            <a:solidFill>
              <a:srgbClr val="000000"/>
            </a:solidFill>
          </p:spPr>
          <p:txBody>
            <a:bodyPr wrap="square" lIns="0" tIns="0" rIns="0" bIns="0" rtlCol="0"/>
            <a:lstStyle/>
            <a:p>
              <a:endParaRPr/>
            </a:p>
          </p:txBody>
        </p:sp>
        <p:pic>
          <p:nvPicPr>
            <p:cNvPr id="13" name="object 13"/>
            <p:cNvPicPr/>
            <p:nvPr/>
          </p:nvPicPr>
          <p:blipFill>
            <a:blip r:embed="rId5" cstate="screen">
              <a:extLst>
                <a:ext uri="{28A0092B-C50C-407E-A947-70E740481C1C}">
                  <a14:useLocalDpi xmlns:a14="http://schemas.microsoft.com/office/drawing/2010/main"/>
                </a:ext>
              </a:extLst>
            </a:blip>
            <a:stretch>
              <a:fillRect/>
            </a:stretch>
          </p:blipFill>
          <p:spPr>
            <a:xfrm>
              <a:off x="7470647" y="803147"/>
              <a:ext cx="2593848" cy="1767840"/>
            </a:xfrm>
            <a:prstGeom prst="rect">
              <a:avLst/>
            </a:prstGeom>
          </p:spPr>
        </p:pic>
        <p:sp>
          <p:nvSpPr>
            <p:cNvPr id="14" name="object 14"/>
            <p:cNvSpPr/>
            <p:nvPr/>
          </p:nvSpPr>
          <p:spPr>
            <a:xfrm>
              <a:off x="7383272" y="716279"/>
              <a:ext cx="2770505" cy="1943100"/>
            </a:xfrm>
            <a:custGeom>
              <a:avLst/>
              <a:gdLst/>
              <a:ahLst/>
              <a:cxnLst/>
              <a:rect l="l" t="t" r="r" b="b"/>
              <a:pathLst>
                <a:path w="2770504" h="1943100">
                  <a:moveTo>
                    <a:pt x="2699004" y="71120"/>
                  </a:moveTo>
                  <a:lnTo>
                    <a:pt x="2681224" y="71120"/>
                  </a:lnTo>
                  <a:lnTo>
                    <a:pt x="2681224" y="88900"/>
                  </a:lnTo>
                  <a:lnTo>
                    <a:pt x="2681224" y="1854200"/>
                  </a:lnTo>
                  <a:lnTo>
                    <a:pt x="88900" y="1854200"/>
                  </a:lnTo>
                  <a:lnTo>
                    <a:pt x="88900" y="88900"/>
                  </a:lnTo>
                  <a:lnTo>
                    <a:pt x="2681224" y="88900"/>
                  </a:lnTo>
                  <a:lnTo>
                    <a:pt x="2681224" y="71120"/>
                  </a:lnTo>
                  <a:lnTo>
                    <a:pt x="71120" y="71120"/>
                  </a:lnTo>
                  <a:lnTo>
                    <a:pt x="71120" y="88900"/>
                  </a:lnTo>
                  <a:lnTo>
                    <a:pt x="71120" y="1854200"/>
                  </a:lnTo>
                  <a:lnTo>
                    <a:pt x="71120" y="1871980"/>
                  </a:lnTo>
                  <a:lnTo>
                    <a:pt x="2699004" y="1871980"/>
                  </a:lnTo>
                  <a:lnTo>
                    <a:pt x="2699004" y="1854708"/>
                  </a:lnTo>
                  <a:lnTo>
                    <a:pt x="2699004" y="1854200"/>
                  </a:lnTo>
                  <a:lnTo>
                    <a:pt x="2699004" y="88900"/>
                  </a:lnTo>
                  <a:lnTo>
                    <a:pt x="2699004" y="88392"/>
                  </a:lnTo>
                  <a:lnTo>
                    <a:pt x="2699004" y="71120"/>
                  </a:lnTo>
                  <a:close/>
                </a:path>
                <a:path w="2770504" h="1943100">
                  <a:moveTo>
                    <a:pt x="2770124" y="0"/>
                  </a:moveTo>
                  <a:lnTo>
                    <a:pt x="2716784" y="0"/>
                  </a:lnTo>
                  <a:lnTo>
                    <a:pt x="2716784" y="53340"/>
                  </a:lnTo>
                  <a:lnTo>
                    <a:pt x="2716784" y="1889760"/>
                  </a:lnTo>
                  <a:lnTo>
                    <a:pt x="53340" y="1889760"/>
                  </a:lnTo>
                  <a:lnTo>
                    <a:pt x="53340" y="53340"/>
                  </a:lnTo>
                  <a:lnTo>
                    <a:pt x="2716784" y="53340"/>
                  </a:lnTo>
                  <a:lnTo>
                    <a:pt x="2716784" y="0"/>
                  </a:lnTo>
                  <a:lnTo>
                    <a:pt x="0" y="0"/>
                  </a:lnTo>
                  <a:lnTo>
                    <a:pt x="0" y="53340"/>
                  </a:lnTo>
                  <a:lnTo>
                    <a:pt x="0" y="1889760"/>
                  </a:lnTo>
                  <a:lnTo>
                    <a:pt x="0" y="1943100"/>
                  </a:lnTo>
                  <a:lnTo>
                    <a:pt x="2770124" y="1943100"/>
                  </a:lnTo>
                  <a:lnTo>
                    <a:pt x="2770124" y="1890268"/>
                  </a:lnTo>
                  <a:lnTo>
                    <a:pt x="2770124" y="1889760"/>
                  </a:lnTo>
                  <a:lnTo>
                    <a:pt x="2770124" y="53340"/>
                  </a:lnTo>
                  <a:lnTo>
                    <a:pt x="2770124" y="52832"/>
                  </a:lnTo>
                  <a:lnTo>
                    <a:pt x="2770124" y="0"/>
                  </a:lnTo>
                  <a:close/>
                </a:path>
              </a:pathLst>
            </a:custGeom>
            <a:solidFill>
              <a:srgbClr val="000000"/>
            </a:solidFill>
          </p:spPr>
          <p:txBody>
            <a:bodyPr wrap="square" lIns="0" tIns="0" rIns="0" bIns="0" rtlCol="0"/>
            <a:lstStyle/>
            <a:p>
              <a:endParaRPr/>
            </a:p>
          </p:txBody>
        </p:sp>
        <p:pic>
          <p:nvPicPr>
            <p:cNvPr id="15" name="object 15"/>
            <p:cNvPicPr/>
            <p:nvPr/>
          </p:nvPicPr>
          <p:blipFill>
            <a:blip r:embed="rId6" cstate="screen">
              <a:extLst>
                <a:ext uri="{28A0092B-C50C-407E-A947-70E740481C1C}">
                  <a14:useLocalDpi xmlns:a14="http://schemas.microsoft.com/office/drawing/2010/main"/>
                </a:ext>
              </a:extLst>
            </a:blip>
            <a:stretch>
              <a:fillRect/>
            </a:stretch>
          </p:blipFill>
          <p:spPr>
            <a:xfrm>
              <a:off x="10297668" y="804672"/>
              <a:ext cx="1665731" cy="2580131"/>
            </a:xfrm>
            <a:prstGeom prst="rect">
              <a:avLst/>
            </a:prstGeom>
          </p:spPr>
        </p:pic>
        <p:sp>
          <p:nvSpPr>
            <p:cNvPr id="16" name="object 16"/>
            <p:cNvSpPr/>
            <p:nvPr/>
          </p:nvSpPr>
          <p:spPr>
            <a:xfrm>
              <a:off x="10210292" y="717549"/>
              <a:ext cx="1842135" cy="2755900"/>
            </a:xfrm>
            <a:custGeom>
              <a:avLst/>
              <a:gdLst/>
              <a:ahLst/>
              <a:cxnLst/>
              <a:rect l="l" t="t" r="r" b="b"/>
              <a:pathLst>
                <a:path w="1842134" h="2755900">
                  <a:moveTo>
                    <a:pt x="1770888" y="71120"/>
                  </a:moveTo>
                  <a:lnTo>
                    <a:pt x="1753108" y="71120"/>
                  </a:lnTo>
                  <a:lnTo>
                    <a:pt x="1753108" y="88900"/>
                  </a:lnTo>
                  <a:lnTo>
                    <a:pt x="1753108" y="2667000"/>
                  </a:lnTo>
                  <a:lnTo>
                    <a:pt x="88900" y="2667000"/>
                  </a:lnTo>
                  <a:lnTo>
                    <a:pt x="88900" y="88900"/>
                  </a:lnTo>
                  <a:lnTo>
                    <a:pt x="1753108" y="88900"/>
                  </a:lnTo>
                  <a:lnTo>
                    <a:pt x="1753108" y="71120"/>
                  </a:lnTo>
                  <a:lnTo>
                    <a:pt x="71120" y="71120"/>
                  </a:lnTo>
                  <a:lnTo>
                    <a:pt x="71120" y="88900"/>
                  </a:lnTo>
                  <a:lnTo>
                    <a:pt x="71120" y="2667000"/>
                  </a:lnTo>
                  <a:lnTo>
                    <a:pt x="71120" y="2684780"/>
                  </a:lnTo>
                  <a:lnTo>
                    <a:pt x="1770888" y="2684780"/>
                  </a:lnTo>
                  <a:lnTo>
                    <a:pt x="1770888" y="2667254"/>
                  </a:lnTo>
                  <a:lnTo>
                    <a:pt x="1770888" y="2667000"/>
                  </a:lnTo>
                  <a:lnTo>
                    <a:pt x="1770888" y="88900"/>
                  </a:lnTo>
                  <a:lnTo>
                    <a:pt x="1770888" y="88646"/>
                  </a:lnTo>
                  <a:lnTo>
                    <a:pt x="1770888" y="71120"/>
                  </a:lnTo>
                  <a:close/>
                </a:path>
                <a:path w="1842134" h="2755900">
                  <a:moveTo>
                    <a:pt x="1842008" y="0"/>
                  </a:moveTo>
                  <a:lnTo>
                    <a:pt x="1788668" y="0"/>
                  </a:lnTo>
                  <a:lnTo>
                    <a:pt x="1788668" y="53340"/>
                  </a:lnTo>
                  <a:lnTo>
                    <a:pt x="1788668" y="2702560"/>
                  </a:lnTo>
                  <a:lnTo>
                    <a:pt x="53340" y="2702560"/>
                  </a:lnTo>
                  <a:lnTo>
                    <a:pt x="53340" y="53340"/>
                  </a:lnTo>
                  <a:lnTo>
                    <a:pt x="1788668" y="53340"/>
                  </a:lnTo>
                  <a:lnTo>
                    <a:pt x="1788668" y="0"/>
                  </a:lnTo>
                  <a:lnTo>
                    <a:pt x="0" y="0"/>
                  </a:lnTo>
                  <a:lnTo>
                    <a:pt x="0" y="53340"/>
                  </a:lnTo>
                  <a:lnTo>
                    <a:pt x="0" y="2702560"/>
                  </a:lnTo>
                  <a:lnTo>
                    <a:pt x="0" y="2755900"/>
                  </a:lnTo>
                  <a:lnTo>
                    <a:pt x="1842008" y="2755900"/>
                  </a:lnTo>
                  <a:lnTo>
                    <a:pt x="1842008" y="2702814"/>
                  </a:lnTo>
                  <a:lnTo>
                    <a:pt x="1842008" y="2702560"/>
                  </a:lnTo>
                  <a:lnTo>
                    <a:pt x="1842008" y="53340"/>
                  </a:lnTo>
                  <a:lnTo>
                    <a:pt x="1842008" y="53086"/>
                  </a:lnTo>
                  <a:lnTo>
                    <a:pt x="1842008" y="0"/>
                  </a:lnTo>
                  <a:close/>
                </a:path>
              </a:pathLst>
            </a:custGeom>
            <a:solidFill>
              <a:srgbClr val="000000"/>
            </a:solidFill>
          </p:spPr>
          <p:txBody>
            <a:bodyPr wrap="square" lIns="0" tIns="0" rIns="0" bIns="0" rtlCol="0"/>
            <a:lstStyle/>
            <a:p>
              <a:endParaRPr/>
            </a:p>
          </p:txBody>
        </p:sp>
        <p:pic>
          <p:nvPicPr>
            <p:cNvPr id="17" name="object 17"/>
            <p:cNvPicPr/>
            <p:nvPr/>
          </p:nvPicPr>
          <p:blipFill>
            <a:blip r:embed="rId7" cstate="screen">
              <a:extLst>
                <a:ext uri="{28A0092B-C50C-407E-A947-70E740481C1C}">
                  <a14:useLocalDpi xmlns:a14="http://schemas.microsoft.com/office/drawing/2010/main"/>
                </a:ext>
              </a:extLst>
            </a:blip>
            <a:stretch>
              <a:fillRect/>
            </a:stretch>
          </p:blipFill>
          <p:spPr>
            <a:xfrm>
              <a:off x="10297668" y="3601212"/>
              <a:ext cx="1652016" cy="3049524"/>
            </a:xfrm>
            <a:prstGeom prst="rect">
              <a:avLst/>
            </a:prstGeom>
          </p:spPr>
        </p:pic>
        <p:pic>
          <p:nvPicPr>
            <p:cNvPr id="18" name="object 18"/>
            <p:cNvPicPr/>
            <p:nvPr/>
          </p:nvPicPr>
          <p:blipFill>
            <a:blip r:embed="rId8" cstate="screen">
              <a:extLst>
                <a:ext uri="{28A0092B-C50C-407E-A947-70E740481C1C}">
                  <a14:useLocalDpi xmlns:a14="http://schemas.microsoft.com/office/drawing/2010/main"/>
                </a:ext>
              </a:extLst>
            </a:blip>
            <a:stretch>
              <a:fillRect/>
            </a:stretch>
          </p:blipFill>
          <p:spPr>
            <a:xfrm>
              <a:off x="6336791" y="4765547"/>
              <a:ext cx="3747516" cy="1885188"/>
            </a:xfrm>
            <a:prstGeom prst="rect">
              <a:avLst/>
            </a:prstGeom>
          </p:spPr>
        </p:pic>
        <p:sp>
          <p:nvSpPr>
            <p:cNvPr id="19" name="object 19"/>
            <p:cNvSpPr/>
            <p:nvPr/>
          </p:nvSpPr>
          <p:spPr>
            <a:xfrm>
              <a:off x="6249416" y="3514089"/>
              <a:ext cx="5789295" cy="3225800"/>
            </a:xfrm>
            <a:custGeom>
              <a:avLst/>
              <a:gdLst/>
              <a:ahLst/>
              <a:cxnLst/>
              <a:rect l="l" t="t" r="r" b="b"/>
              <a:pathLst>
                <a:path w="5789295" h="3225800">
                  <a:moveTo>
                    <a:pt x="3852672" y="1235710"/>
                  </a:moveTo>
                  <a:lnTo>
                    <a:pt x="71120" y="1235710"/>
                  </a:lnTo>
                  <a:lnTo>
                    <a:pt x="71120" y="1253490"/>
                  </a:lnTo>
                  <a:lnTo>
                    <a:pt x="71120" y="3136900"/>
                  </a:lnTo>
                  <a:lnTo>
                    <a:pt x="71120" y="3154680"/>
                  </a:lnTo>
                  <a:lnTo>
                    <a:pt x="3852672" y="3154680"/>
                  </a:lnTo>
                  <a:lnTo>
                    <a:pt x="3852672" y="3136900"/>
                  </a:lnTo>
                  <a:lnTo>
                    <a:pt x="88900" y="3136900"/>
                  </a:lnTo>
                  <a:lnTo>
                    <a:pt x="88900" y="1253490"/>
                  </a:lnTo>
                  <a:lnTo>
                    <a:pt x="3834892" y="1253490"/>
                  </a:lnTo>
                  <a:lnTo>
                    <a:pt x="3834892" y="3136646"/>
                  </a:lnTo>
                  <a:lnTo>
                    <a:pt x="3852672" y="3136658"/>
                  </a:lnTo>
                  <a:lnTo>
                    <a:pt x="3852672" y="1253490"/>
                  </a:lnTo>
                  <a:lnTo>
                    <a:pt x="3852672" y="1252982"/>
                  </a:lnTo>
                  <a:lnTo>
                    <a:pt x="3852672" y="1235710"/>
                  </a:lnTo>
                  <a:close/>
                </a:path>
                <a:path w="5789295" h="3225800">
                  <a:moveTo>
                    <a:pt x="3923792" y="1164590"/>
                  </a:moveTo>
                  <a:lnTo>
                    <a:pt x="0" y="1164590"/>
                  </a:lnTo>
                  <a:lnTo>
                    <a:pt x="0" y="1217930"/>
                  </a:lnTo>
                  <a:lnTo>
                    <a:pt x="0" y="3172460"/>
                  </a:lnTo>
                  <a:lnTo>
                    <a:pt x="0" y="3225800"/>
                  </a:lnTo>
                  <a:lnTo>
                    <a:pt x="3923792" y="3225800"/>
                  </a:lnTo>
                  <a:lnTo>
                    <a:pt x="3923792" y="3172460"/>
                  </a:lnTo>
                  <a:lnTo>
                    <a:pt x="53340" y="3172460"/>
                  </a:lnTo>
                  <a:lnTo>
                    <a:pt x="53340" y="1217930"/>
                  </a:lnTo>
                  <a:lnTo>
                    <a:pt x="3870452" y="1217930"/>
                  </a:lnTo>
                  <a:lnTo>
                    <a:pt x="3870452" y="3172206"/>
                  </a:lnTo>
                  <a:lnTo>
                    <a:pt x="3923792" y="3172206"/>
                  </a:lnTo>
                  <a:lnTo>
                    <a:pt x="3923792" y="1217930"/>
                  </a:lnTo>
                  <a:lnTo>
                    <a:pt x="3923792" y="1217422"/>
                  </a:lnTo>
                  <a:lnTo>
                    <a:pt x="3923792" y="1164590"/>
                  </a:lnTo>
                  <a:close/>
                </a:path>
                <a:path w="5789295" h="3225800">
                  <a:moveTo>
                    <a:pt x="5718048" y="71120"/>
                  </a:moveTo>
                  <a:lnTo>
                    <a:pt x="4031996" y="71120"/>
                  </a:lnTo>
                  <a:lnTo>
                    <a:pt x="4031996" y="88900"/>
                  </a:lnTo>
                  <a:lnTo>
                    <a:pt x="4031996" y="3136900"/>
                  </a:lnTo>
                  <a:lnTo>
                    <a:pt x="4031996" y="3154680"/>
                  </a:lnTo>
                  <a:lnTo>
                    <a:pt x="5718048" y="3154680"/>
                  </a:lnTo>
                  <a:lnTo>
                    <a:pt x="5718048" y="3136900"/>
                  </a:lnTo>
                  <a:lnTo>
                    <a:pt x="4049776" y="3136900"/>
                  </a:lnTo>
                  <a:lnTo>
                    <a:pt x="4049776" y="88900"/>
                  </a:lnTo>
                  <a:lnTo>
                    <a:pt x="5700268" y="88900"/>
                  </a:lnTo>
                  <a:lnTo>
                    <a:pt x="5700268" y="3136646"/>
                  </a:lnTo>
                  <a:lnTo>
                    <a:pt x="5718048" y="3136658"/>
                  </a:lnTo>
                  <a:lnTo>
                    <a:pt x="5718048" y="88900"/>
                  </a:lnTo>
                  <a:lnTo>
                    <a:pt x="5718048" y="88646"/>
                  </a:lnTo>
                  <a:lnTo>
                    <a:pt x="5718048" y="71120"/>
                  </a:lnTo>
                  <a:close/>
                </a:path>
                <a:path w="5789295" h="3225800">
                  <a:moveTo>
                    <a:pt x="5789168" y="0"/>
                  </a:moveTo>
                  <a:lnTo>
                    <a:pt x="3960876" y="0"/>
                  </a:lnTo>
                  <a:lnTo>
                    <a:pt x="3960876" y="53340"/>
                  </a:lnTo>
                  <a:lnTo>
                    <a:pt x="3960876" y="3172460"/>
                  </a:lnTo>
                  <a:lnTo>
                    <a:pt x="3960876" y="3225800"/>
                  </a:lnTo>
                  <a:lnTo>
                    <a:pt x="5789168" y="3225800"/>
                  </a:lnTo>
                  <a:lnTo>
                    <a:pt x="5789168" y="3172460"/>
                  </a:lnTo>
                  <a:lnTo>
                    <a:pt x="4014216" y="3172460"/>
                  </a:lnTo>
                  <a:lnTo>
                    <a:pt x="4014216" y="53340"/>
                  </a:lnTo>
                  <a:lnTo>
                    <a:pt x="5735828" y="53340"/>
                  </a:lnTo>
                  <a:lnTo>
                    <a:pt x="5735828" y="3172206"/>
                  </a:lnTo>
                  <a:lnTo>
                    <a:pt x="5789168" y="3172218"/>
                  </a:lnTo>
                  <a:lnTo>
                    <a:pt x="5789168" y="53340"/>
                  </a:lnTo>
                  <a:lnTo>
                    <a:pt x="5789168" y="53086"/>
                  </a:lnTo>
                  <a:lnTo>
                    <a:pt x="5789168" y="0"/>
                  </a:lnTo>
                  <a:close/>
                </a:path>
              </a:pathLst>
            </a:custGeom>
            <a:solidFill>
              <a:srgbClr val="000000"/>
            </a:solidFill>
          </p:spPr>
          <p:txBody>
            <a:bodyPr wrap="square" lIns="0" tIns="0" rIns="0" bIns="0" rtlCol="0"/>
            <a:lstStyle/>
            <a:p>
              <a:endParaRPr/>
            </a:p>
          </p:txBody>
        </p:sp>
        <p:pic>
          <p:nvPicPr>
            <p:cNvPr id="20" name="object 20"/>
            <p:cNvPicPr/>
            <p:nvPr/>
          </p:nvPicPr>
          <p:blipFill>
            <a:blip r:embed="rId9" cstate="screen">
              <a:extLst>
                <a:ext uri="{28A0092B-C50C-407E-A947-70E740481C1C}">
                  <a14:useLocalDpi xmlns:a14="http://schemas.microsoft.com/office/drawing/2010/main"/>
                </a:ext>
              </a:extLst>
            </a:blip>
            <a:stretch>
              <a:fillRect/>
            </a:stretch>
          </p:blipFill>
          <p:spPr>
            <a:xfrm>
              <a:off x="5552821" y="787908"/>
              <a:ext cx="1762632" cy="1780286"/>
            </a:xfrm>
            <a:prstGeom prst="rect">
              <a:avLst/>
            </a:prstGeom>
          </p:spPr>
        </p:pic>
        <p:sp>
          <p:nvSpPr>
            <p:cNvPr id="21" name="object 21"/>
            <p:cNvSpPr/>
            <p:nvPr/>
          </p:nvSpPr>
          <p:spPr>
            <a:xfrm>
              <a:off x="673608" y="3857243"/>
              <a:ext cx="314325" cy="2871470"/>
            </a:xfrm>
            <a:custGeom>
              <a:avLst/>
              <a:gdLst/>
              <a:ahLst/>
              <a:cxnLst/>
              <a:rect l="l" t="t" r="r" b="b"/>
              <a:pathLst>
                <a:path w="314325" h="2871470">
                  <a:moveTo>
                    <a:pt x="300228" y="1981161"/>
                  </a:moveTo>
                  <a:lnTo>
                    <a:pt x="280835" y="1945144"/>
                  </a:lnTo>
                  <a:lnTo>
                    <a:pt x="279019" y="1944116"/>
                  </a:lnTo>
                  <a:lnTo>
                    <a:pt x="279019" y="1975332"/>
                  </a:lnTo>
                  <a:lnTo>
                    <a:pt x="279019" y="1986991"/>
                  </a:lnTo>
                  <a:lnTo>
                    <a:pt x="277088" y="1992172"/>
                  </a:lnTo>
                  <a:lnTo>
                    <a:pt x="272580" y="1996059"/>
                  </a:lnTo>
                  <a:lnTo>
                    <a:pt x="268084" y="2000592"/>
                  </a:lnTo>
                  <a:lnTo>
                    <a:pt x="262940" y="2002536"/>
                  </a:lnTo>
                  <a:lnTo>
                    <a:pt x="201866" y="2002536"/>
                  </a:lnTo>
                  <a:lnTo>
                    <a:pt x="203796" y="2004479"/>
                  </a:lnTo>
                  <a:lnTo>
                    <a:pt x="205079" y="2007069"/>
                  </a:lnTo>
                  <a:lnTo>
                    <a:pt x="206362" y="2010956"/>
                  </a:lnTo>
                  <a:lnTo>
                    <a:pt x="207606" y="2017191"/>
                  </a:lnTo>
                  <a:lnTo>
                    <a:pt x="207657" y="2027796"/>
                  </a:lnTo>
                  <a:lnTo>
                    <a:pt x="205079" y="2034273"/>
                  </a:lnTo>
                  <a:lnTo>
                    <a:pt x="198653" y="2040102"/>
                  </a:lnTo>
                  <a:lnTo>
                    <a:pt x="201218" y="2043988"/>
                  </a:lnTo>
                  <a:lnTo>
                    <a:pt x="201866" y="2047875"/>
                  </a:lnTo>
                  <a:lnTo>
                    <a:pt x="201866" y="2056295"/>
                  </a:lnTo>
                  <a:lnTo>
                    <a:pt x="201218" y="2060181"/>
                  </a:lnTo>
                  <a:lnTo>
                    <a:pt x="199301" y="2064067"/>
                  </a:lnTo>
                  <a:lnTo>
                    <a:pt x="197370" y="2068601"/>
                  </a:lnTo>
                  <a:lnTo>
                    <a:pt x="194157" y="2071192"/>
                  </a:lnTo>
                  <a:lnTo>
                    <a:pt x="190931" y="2073135"/>
                  </a:lnTo>
                  <a:lnTo>
                    <a:pt x="192227" y="2079612"/>
                  </a:lnTo>
                  <a:lnTo>
                    <a:pt x="160083" y="2110702"/>
                  </a:lnTo>
                  <a:lnTo>
                    <a:pt x="153187" y="2110359"/>
                  </a:lnTo>
                  <a:lnTo>
                    <a:pt x="145935" y="2109330"/>
                  </a:lnTo>
                  <a:lnTo>
                    <a:pt x="138188" y="2107704"/>
                  </a:lnTo>
                  <a:lnTo>
                    <a:pt x="129857" y="2105520"/>
                  </a:lnTo>
                  <a:lnTo>
                    <a:pt x="121754" y="2102713"/>
                  </a:lnTo>
                  <a:lnTo>
                    <a:pt x="97713" y="2094509"/>
                  </a:lnTo>
                  <a:lnTo>
                    <a:pt x="89852" y="2092071"/>
                  </a:lnTo>
                  <a:lnTo>
                    <a:pt x="82600" y="2090470"/>
                  </a:lnTo>
                  <a:lnTo>
                    <a:pt x="75831" y="2089594"/>
                  </a:lnTo>
                  <a:lnTo>
                    <a:pt x="69430" y="2089327"/>
                  </a:lnTo>
                  <a:lnTo>
                    <a:pt x="64287" y="2089327"/>
                  </a:lnTo>
                  <a:lnTo>
                    <a:pt x="64287" y="2067306"/>
                  </a:lnTo>
                  <a:lnTo>
                    <a:pt x="64287" y="1981161"/>
                  </a:lnTo>
                  <a:lnTo>
                    <a:pt x="69430" y="1981161"/>
                  </a:lnTo>
                  <a:lnTo>
                    <a:pt x="75577" y="1980565"/>
                  </a:lnTo>
                  <a:lnTo>
                    <a:pt x="109931" y="1953310"/>
                  </a:lnTo>
                  <a:lnTo>
                    <a:pt x="115824" y="1946744"/>
                  </a:lnTo>
                  <a:lnTo>
                    <a:pt x="120929" y="1940610"/>
                  </a:lnTo>
                  <a:lnTo>
                    <a:pt x="125196" y="1934832"/>
                  </a:lnTo>
                  <a:lnTo>
                    <a:pt x="128574" y="1929345"/>
                  </a:lnTo>
                  <a:lnTo>
                    <a:pt x="130505" y="1926755"/>
                  </a:lnTo>
                  <a:lnTo>
                    <a:pt x="132435" y="1922868"/>
                  </a:lnTo>
                  <a:lnTo>
                    <a:pt x="135001" y="1918335"/>
                  </a:lnTo>
                  <a:lnTo>
                    <a:pt x="140208" y="1907768"/>
                  </a:lnTo>
                  <a:lnTo>
                    <a:pt x="144399" y="1900288"/>
                  </a:lnTo>
                  <a:lnTo>
                    <a:pt x="147739" y="1895843"/>
                  </a:lnTo>
                  <a:lnTo>
                    <a:pt x="150431" y="1894370"/>
                  </a:lnTo>
                  <a:lnTo>
                    <a:pt x="158140" y="1894370"/>
                  </a:lnTo>
                  <a:lnTo>
                    <a:pt x="164579" y="1896313"/>
                  </a:lnTo>
                  <a:lnTo>
                    <a:pt x="169722" y="1899551"/>
                  </a:lnTo>
                  <a:lnTo>
                    <a:pt x="174218" y="1903437"/>
                  </a:lnTo>
                  <a:lnTo>
                    <a:pt x="176796" y="1908619"/>
                  </a:lnTo>
                  <a:lnTo>
                    <a:pt x="176796" y="1920925"/>
                  </a:lnTo>
                  <a:lnTo>
                    <a:pt x="176149" y="1926107"/>
                  </a:lnTo>
                  <a:lnTo>
                    <a:pt x="174218" y="1930641"/>
                  </a:lnTo>
                  <a:lnTo>
                    <a:pt x="172935" y="1935175"/>
                  </a:lnTo>
                  <a:lnTo>
                    <a:pt x="171005" y="1939061"/>
                  </a:lnTo>
                  <a:lnTo>
                    <a:pt x="169075" y="1941652"/>
                  </a:lnTo>
                  <a:lnTo>
                    <a:pt x="163296" y="1951367"/>
                  </a:lnTo>
                  <a:lnTo>
                    <a:pt x="162001" y="1954606"/>
                  </a:lnTo>
                  <a:lnTo>
                    <a:pt x="160718" y="1957197"/>
                  </a:lnTo>
                  <a:lnTo>
                    <a:pt x="160718" y="1959140"/>
                  </a:lnTo>
                  <a:lnTo>
                    <a:pt x="262940" y="1959140"/>
                  </a:lnTo>
                  <a:lnTo>
                    <a:pt x="268084" y="1961730"/>
                  </a:lnTo>
                  <a:lnTo>
                    <a:pt x="276440" y="1970151"/>
                  </a:lnTo>
                  <a:lnTo>
                    <a:pt x="279019" y="1975332"/>
                  </a:lnTo>
                  <a:lnTo>
                    <a:pt x="279019" y="1944116"/>
                  </a:lnTo>
                  <a:lnTo>
                    <a:pt x="273710" y="1941093"/>
                  </a:lnTo>
                  <a:lnTo>
                    <a:pt x="265849" y="1938616"/>
                  </a:lnTo>
                  <a:lnTo>
                    <a:pt x="257149" y="1937766"/>
                  </a:lnTo>
                  <a:lnTo>
                    <a:pt x="194792" y="1937766"/>
                  </a:lnTo>
                  <a:lnTo>
                    <a:pt x="197370" y="1931289"/>
                  </a:lnTo>
                  <a:lnTo>
                    <a:pt x="198653" y="1924164"/>
                  </a:lnTo>
                  <a:lnTo>
                    <a:pt x="198539" y="1915096"/>
                  </a:lnTo>
                  <a:lnTo>
                    <a:pt x="197789" y="1906689"/>
                  </a:lnTo>
                  <a:lnTo>
                    <a:pt x="169151" y="1875840"/>
                  </a:lnTo>
                  <a:lnTo>
                    <a:pt x="150431" y="1872996"/>
                  </a:lnTo>
                  <a:lnTo>
                    <a:pt x="145935" y="1872996"/>
                  </a:lnTo>
                  <a:lnTo>
                    <a:pt x="122796" y="1895017"/>
                  </a:lnTo>
                  <a:lnTo>
                    <a:pt x="120865" y="1898256"/>
                  </a:lnTo>
                  <a:lnTo>
                    <a:pt x="118287" y="1902790"/>
                  </a:lnTo>
                  <a:lnTo>
                    <a:pt x="116357" y="1907324"/>
                  </a:lnTo>
                  <a:lnTo>
                    <a:pt x="113792" y="1911858"/>
                  </a:lnTo>
                  <a:lnTo>
                    <a:pt x="112509" y="1915096"/>
                  </a:lnTo>
                  <a:lnTo>
                    <a:pt x="110578" y="1917687"/>
                  </a:lnTo>
                  <a:lnTo>
                    <a:pt x="107416" y="1922399"/>
                  </a:lnTo>
                  <a:lnTo>
                    <a:pt x="103657" y="1927656"/>
                  </a:lnTo>
                  <a:lnTo>
                    <a:pt x="99174" y="1933270"/>
                  </a:lnTo>
                  <a:lnTo>
                    <a:pt x="93865" y="1939061"/>
                  </a:lnTo>
                  <a:lnTo>
                    <a:pt x="93865" y="1939709"/>
                  </a:lnTo>
                  <a:lnTo>
                    <a:pt x="93218" y="1940356"/>
                  </a:lnTo>
                  <a:lnTo>
                    <a:pt x="91935" y="1942299"/>
                  </a:lnTo>
                  <a:lnTo>
                    <a:pt x="87426" y="1946833"/>
                  </a:lnTo>
                  <a:lnTo>
                    <a:pt x="86791" y="1948129"/>
                  </a:lnTo>
                  <a:lnTo>
                    <a:pt x="84861" y="1949424"/>
                  </a:lnTo>
                  <a:lnTo>
                    <a:pt x="83578" y="1951367"/>
                  </a:lnTo>
                  <a:lnTo>
                    <a:pt x="82283" y="1952015"/>
                  </a:lnTo>
                  <a:lnTo>
                    <a:pt x="81000" y="1953310"/>
                  </a:lnTo>
                  <a:lnTo>
                    <a:pt x="79717" y="1953958"/>
                  </a:lnTo>
                  <a:lnTo>
                    <a:pt x="77152" y="1956549"/>
                  </a:lnTo>
                  <a:lnTo>
                    <a:pt x="75857" y="1957197"/>
                  </a:lnTo>
                  <a:lnTo>
                    <a:pt x="74574" y="1958492"/>
                  </a:lnTo>
                  <a:lnTo>
                    <a:pt x="73291" y="1958492"/>
                  </a:lnTo>
                  <a:lnTo>
                    <a:pt x="72009" y="1959140"/>
                  </a:lnTo>
                  <a:lnTo>
                    <a:pt x="43078" y="1959140"/>
                  </a:lnTo>
                  <a:lnTo>
                    <a:pt x="43078" y="2075726"/>
                  </a:lnTo>
                  <a:lnTo>
                    <a:pt x="43078" y="2081555"/>
                  </a:lnTo>
                  <a:lnTo>
                    <a:pt x="41783" y="2083498"/>
                  </a:lnTo>
                  <a:lnTo>
                    <a:pt x="39852" y="2086089"/>
                  </a:lnTo>
                  <a:lnTo>
                    <a:pt x="37287" y="2088032"/>
                  </a:lnTo>
                  <a:lnTo>
                    <a:pt x="35356" y="2089327"/>
                  </a:lnTo>
                  <a:lnTo>
                    <a:pt x="29578" y="2089327"/>
                  </a:lnTo>
                  <a:lnTo>
                    <a:pt x="27000" y="2088032"/>
                  </a:lnTo>
                  <a:lnTo>
                    <a:pt x="24434" y="2086089"/>
                  </a:lnTo>
                  <a:lnTo>
                    <a:pt x="22504" y="2083498"/>
                  </a:lnTo>
                  <a:lnTo>
                    <a:pt x="21209" y="2081555"/>
                  </a:lnTo>
                  <a:lnTo>
                    <a:pt x="21209" y="2075726"/>
                  </a:lnTo>
                  <a:lnTo>
                    <a:pt x="22504" y="2073135"/>
                  </a:lnTo>
                  <a:lnTo>
                    <a:pt x="24434" y="2070544"/>
                  </a:lnTo>
                  <a:lnTo>
                    <a:pt x="27000" y="2068601"/>
                  </a:lnTo>
                  <a:lnTo>
                    <a:pt x="29578" y="2067306"/>
                  </a:lnTo>
                  <a:lnTo>
                    <a:pt x="35356" y="2067306"/>
                  </a:lnTo>
                  <a:lnTo>
                    <a:pt x="37287" y="2068601"/>
                  </a:lnTo>
                  <a:lnTo>
                    <a:pt x="39852" y="2070544"/>
                  </a:lnTo>
                  <a:lnTo>
                    <a:pt x="41783" y="2073135"/>
                  </a:lnTo>
                  <a:lnTo>
                    <a:pt x="43078" y="2075726"/>
                  </a:lnTo>
                  <a:lnTo>
                    <a:pt x="43078" y="1959140"/>
                  </a:lnTo>
                  <a:lnTo>
                    <a:pt x="15430" y="1959140"/>
                  </a:lnTo>
                  <a:lnTo>
                    <a:pt x="10287" y="1961730"/>
                  </a:lnTo>
                  <a:lnTo>
                    <a:pt x="1930" y="1970151"/>
                  </a:lnTo>
                  <a:lnTo>
                    <a:pt x="0" y="1975332"/>
                  </a:lnTo>
                  <a:lnTo>
                    <a:pt x="0" y="2095157"/>
                  </a:lnTo>
                  <a:lnTo>
                    <a:pt x="1930" y="2100338"/>
                  </a:lnTo>
                  <a:lnTo>
                    <a:pt x="6426" y="2104224"/>
                  </a:lnTo>
                  <a:lnTo>
                    <a:pt x="10287" y="2108758"/>
                  </a:lnTo>
                  <a:lnTo>
                    <a:pt x="15430" y="2110702"/>
                  </a:lnTo>
                  <a:lnTo>
                    <a:pt x="69430" y="2110702"/>
                  </a:lnTo>
                  <a:lnTo>
                    <a:pt x="75717" y="2111311"/>
                  </a:lnTo>
                  <a:lnTo>
                    <a:pt x="84048" y="2113140"/>
                  </a:lnTo>
                  <a:lnTo>
                    <a:pt x="94564" y="2116175"/>
                  </a:lnTo>
                  <a:lnTo>
                    <a:pt x="122301" y="2125522"/>
                  </a:lnTo>
                  <a:lnTo>
                    <a:pt x="136283" y="2129167"/>
                  </a:lnTo>
                  <a:lnTo>
                    <a:pt x="149301" y="2131352"/>
                  </a:lnTo>
                  <a:lnTo>
                    <a:pt x="161366" y="2132076"/>
                  </a:lnTo>
                  <a:lnTo>
                    <a:pt x="172440" y="2131237"/>
                  </a:lnTo>
                  <a:lnTo>
                    <a:pt x="205574" y="2111070"/>
                  </a:lnTo>
                  <a:lnTo>
                    <a:pt x="213436" y="2081555"/>
                  </a:lnTo>
                  <a:lnTo>
                    <a:pt x="217754" y="2074900"/>
                  </a:lnTo>
                  <a:lnTo>
                    <a:pt x="220980" y="2067636"/>
                  </a:lnTo>
                  <a:lnTo>
                    <a:pt x="223012" y="2059889"/>
                  </a:lnTo>
                  <a:lnTo>
                    <a:pt x="223723" y="2051761"/>
                  </a:lnTo>
                  <a:lnTo>
                    <a:pt x="223723" y="2049170"/>
                  </a:lnTo>
                  <a:lnTo>
                    <a:pt x="223075" y="2046579"/>
                  </a:lnTo>
                  <a:lnTo>
                    <a:pt x="223075" y="2044636"/>
                  </a:lnTo>
                  <a:lnTo>
                    <a:pt x="226301" y="2038159"/>
                  </a:lnTo>
                  <a:lnTo>
                    <a:pt x="228866" y="2031034"/>
                  </a:lnTo>
                  <a:lnTo>
                    <a:pt x="228866" y="2024557"/>
                  </a:lnTo>
                  <a:lnTo>
                    <a:pt x="257149" y="2024557"/>
                  </a:lnTo>
                  <a:lnTo>
                    <a:pt x="293433" y="2004936"/>
                  </a:lnTo>
                  <a:lnTo>
                    <a:pt x="299491" y="1989658"/>
                  </a:lnTo>
                  <a:lnTo>
                    <a:pt x="300228" y="1981161"/>
                  </a:lnTo>
                  <a:close/>
                </a:path>
                <a:path w="314325" h="2871470">
                  <a:moveTo>
                    <a:pt x="300228" y="862584"/>
                  </a:moveTo>
                  <a:lnTo>
                    <a:pt x="280835" y="826554"/>
                  </a:lnTo>
                  <a:lnTo>
                    <a:pt x="279019" y="825525"/>
                  </a:lnTo>
                  <a:lnTo>
                    <a:pt x="279019" y="856742"/>
                  </a:lnTo>
                  <a:lnTo>
                    <a:pt x="279019" y="868426"/>
                  </a:lnTo>
                  <a:lnTo>
                    <a:pt x="277088" y="873506"/>
                  </a:lnTo>
                  <a:lnTo>
                    <a:pt x="272580" y="877443"/>
                  </a:lnTo>
                  <a:lnTo>
                    <a:pt x="268084" y="882015"/>
                  </a:lnTo>
                  <a:lnTo>
                    <a:pt x="262940" y="883920"/>
                  </a:lnTo>
                  <a:lnTo>
                    <a:pt x="201866" y="883920"/>
                  </a:lnTo>
                  <a:lnTo>
                    <a:pt x="203796" y="885825"/>
                  </a:lnTo>
                  <a:lnTo>
                    <a:pt x="205079" y="888492"/>
                  </a:lnTo>
                  <a:lnTo>
                    <a:pt x="206362" y="892302"/>
                  </a:lnTo>
                  <a:lnTo>
                    <a:pt x="207606" y="898563"/>
                  </a:lnTo>
                  <a:lnTo>
                    <a:pt x="207657" y="909193"/>
                  </a:lnTo>
                  <a:lnTo>
                    <a:pt x="205079" y="915670"/>
                  </a:lnTo>
                  <a:lnTo>
                    <a:pt x="198653" y="921512"/>
                  </a:lnTo>
                  <a:lnTo>
                    <a:pt x="201218" y="925322"/>
                  </a:lnTo>
                  <a:lnTo>
                    <a:pt x="201866" y="929259"/>
                  </a:lnTo>
                  <a:lnTo>
                    <a:pt x="201866" y="937641"/>
                  </a:lnTo>
                  <a:lnTo>
                    <a:pt x="201218" y="941578"/>
                  </a:lnTo>
                  <a:lnTo>
                    <a:pt x="199301" y="945388"/>
                  </a:lnTo>
                  <a:lnTo>
                    <a:pt x="197370" y="949960"/>
                  </a:lnTo>
                  <a:lnTo>
                    <a:pt x="194157" y="952627"/>
                  </a:lnTo>
                  <a:lnTo>
                    <a:pt x="190931" y="954532"/>
                  </a:lnTo>
                  <a:lnTo>
                    <a:pt x="192227" y="961009"/>
                  </a:lnTo>
                  <a:lnTo>
                    <a:pt x="160083" y="992124"/>
                  </a:lnTo>
                  <a:lnTo>
                    <a:pt x="153187" y="991768"/>
                  </a:lnTo>
                  <a:lnTo>
                    <a:pt x="145935" y="990714"/>
                  </a:lnTo>
                  <a:lnTo>
                    <a:pt x="138188" y="989076"/>
                  </a:lnTo>
                  <a:lnTo>
                    <a:pt x="129857" y="986917"/>
                  </a:lnTo>
                  <a:lnTo>
                    <a:pt x="121754" y="984084"/>
                  </a:lnTo>
                  <a:lnTo>
                    <a:pt x="105803" y="978712"/>
                  </a:lnTo>
                  <a:lnTo>
                    <a:pt x="69430" y="970661"/>
                  </a:lnTo>
                  <a:lnTo>
                    <a:pt x="64287" y="970661"/>
                  </a:lnTo>
                  <a:lnTo>
                    <a:pt x="64287" y="948690"/>
                  </a:lnTo>
                  <a:lnTo>
                    <a:pt x="64287" y="862584"/>
                  </a:lnTo>
                  <a:lnTo>
                    <a:pt x="69430" y="862584"/>
                  </a:lnTo>
                  <a:lnTo>
                    <a:pt x="75577" y="861974"/>
                  </a:lnTo>
                  <a:lnTo>
                    <a:pt x="109931" y="834644"/>
                  </a:lnTo>
                  <a:lnTo>
                    <a:pt x="115824" y="828116"/>
                  </a:lnTo>
                  <a:lnTo>
                    <a:pt x="120929" y="821994"/>
                  </a:lnTo>
                  <a:lnTo>
                    <a:pt x="125196" y="816241"/>
                  </a:lnTo>
                  <a:lnTo>
                    <a:pt x="128574" y="810768"/>
                  </a:lnTo>
                  <a:lnTo>
                    <a:pt x="130505" y="808101"/>
                  </a:lnTo>
                  <a:lnTo>
                    <a:pt x="132435" y="804291"/>
                  </a:lnTo>
                  <a:lnTo>
                    <a:pt x="135001" y="799719"/>
                  </a:lnTo>
                  <a:lnTo>
                    <a:pt x="140208" y="789114"/>
                  </a:lnTo>
                  <a:lnTo>
                    <a:pt x="144399" y="781634"/>
                  </a:lnTo>
                  <a:lnTo>
                    <a:pt x="147739" y="777189"/>
                  </a:lnTo>
                  <a:lnTo>
                    <a:pt x="150431" y="775716"/>
                  </a:lnTo>
                  <a:lnTo>
                    <a:pt x="158140" y="775716"/>
                  </a:lnTo>
                  <a:lnTo>
                    <a:pt x="164579" y="777748"/>
                  </a:lnTo>
                  <a:lnTo>
                    <a:pt x="169722" y="780923"/>
                  </a:lnTo>
                  <a:lnTo>
                    <a:pt x="174218" y="784860"/>
                  </a:lnTo>
                  <a:lnTo>
                    <a:pt x="176796" y="789940"/>
                  </a:lnTo>
                  <a:lnTo>
                    <a:pt x="176796" y="802259"/>
                  </a:lnTo>
                  <a:lnTo>
                    <a:pt x="176149" y="807466"/>
                  </a:lnTo>
                  <a:lnTo>
                    <a:pt x="174218" y="812038"/>
                  </a:lnTo>
                  <a:lnTo>
                    <a:pt x="172935" y="816610"/>
                  </a:lnTo>
                  <a:lnTo>
                    <a:pt x="171005" y="820420"/>
                  </a:lnTo>
                  <a:lnTo>
                    <a:pt x="169075" y="823087"/>
                  </a:lnTo>
                  <a:lnTo>
                    <a:pt x="167144" y="826262"/>
                  </a:lnTo>
                  <a:lnTo>
                    <a:pt x="165227" y="829564"/>
                  </a:lnTo>
                  <a:lnTo>
                    <a:pt x="163296" y="832739"/>
                  </a:lnTo>
                  <a:lnTo>
                    <a:pt x="162001" y="836041"/>
                  </a:lnTo>
                  <a:lnTo>
                    <a:pt x="160718" y="838581"/>
                  </a:lnTo>
                  <a:lnTo>
                    <a:pt x="160718" y="840486"/>
                  </a:lnTo>
                  <a:lnTo>
                    <a:pt x="262940" y="840486"/>
                  </a:lnTo>
                  <a:lnTo>
                    <a:pt x="268084" y="843153"/>
                  </a:lnTo>
                  <a:lnTo>
                    <a:pt x="272580" y="847598"/>
                  </a:lnTo>
                  <a:lnTo>
                    <a:pt x="276440" y="851535"/>
                  </a:lnTo>
                  <a:lnTo>
                    <a:pt x="279019" y="856742"/>
                  </a:lnTo>
                  <a:lnTo>
                    <a:pt x="279019" y="825525"/>
                  </a:lnTo>
                  <a:lnTo>
                    <a:pt x="273710" y="822490"/>
                  </a:lnTo>
                  <a:lnTo>
                    <a:pt x="265849" y="820000"/>
                  </a:lnTo>
                  <a:lnTo>
                    <a:pt x="257149" y="819150"/>
                  </a:lnTo>
                  <a:lnTo>
                    <a:pt x="194792" y="819150"/>
                  </a:lnTo>
                  <a:lnTo>
                    <a:pt x="197370" y="812673"/>
                  </a:lnTo>
                  <a:lnTo>
                    <a:pt x="198653" y="805561"/>
                  </a:lnTo>
                  <a:lnTo>
                    <a:pt x="198526" y="796417"/>
                  </a:lnTo>
                  <a:lnTo>
                    <a:pt x="197789" y="788111"/>
                  </a:lnTo>
                  <a:lnTo>
                    <a:pt x="195199" y="779437"/>
                  </a:lnTo>
                  <a:lnTo>
                    <a:pt x="193027" y="775716"/>
                  </a:lnTo>
                  <a:lnTo>
                    <a:pt x="190779" y="771855"/>
                  </a:lnTo>
                  <a:lnTo>
                    <a:pt x="150431" y="754380"/>
                  </a:lnTo>
                  <a:lnTo>
                    <a:pt x="145935" y="754380"/>
                  </a:lnTo>
                  <a:lnTo>
                    <a:pt x="122796" y="776351"/>
                  </a:lnTo>
                  <a:lnTo>
                    <a:pt x="120865" y="779653"/>
                  </a:lnTo>
                  <a:lnTo>
                    <a:pt x="118287" y="784225"/>
                  </a:lnTo>
                  <a:lnTo>
                    <a:pt x="116357" y="788670"/>
                  </a:lnTo>
                  <a:lnTo>
                    <a:pt x="113792" y="793242"/>
                  </a:lnTo>
                  <a:lnTo>
                    <a:pt x="112509" y="796417"/>
                  </a:lnTo>
                  <a:lnTo>
                    <a:pt x="110578" y="799084"/>
                  </a:lnTo>
                  <a:lnTo>
                    <a:pt x="107416" y="803795"/>
                  </a:lnTo>
                  <a:lnTo>
                    <a:pt x="103657" y="809040"/>
                  </a:lnTo>
                  <a:lnTo>
                    <a:pt x="99174" y="814641"/>
                  </a:lnTo>
                  <a:lnTo>
                    <a:pt x="93865" y="820420"/>
                  </a:lnTo>
                  <a:lnTo>
                    <a:pt x="93865" y="821055"/>
                  </a:lnTo>
                  <a:lnTo>
                    <a:pt x="93218" y="821690"/>
                  </a:lnTo>
                  <a:lnTo>
                    <a:pt x="91935" y="823722"/>
                  </a:lnTo>
                  <a:lnTo>
                    <a:pt x="87426" y="828167"/>
                  </a:lnTo>
                  <a:lnTo>
                    <a:pt x="86791" y="829564"/>
                  </a:lnTo>
                  <a:lnTo>
                    <a:pt x="84861" y="830834"/>
                  </a:lnTo>
                  <a:lnTo>
                    <a:pt x="83578" y="832739"/>
                  </a:lnTo>
                  <a:lnTo>
                    <a:pt x="82283" y="833374"/>
                  </a:lnTo>
                  <a:lnTo>
                    <a:pt x="81000" y="834644"/>
                  </a:lnTo>
                  <a:lnTo>
                    <a:pt x="79717" y="835279"/>
                  </a:lnTo>
                  <a:lnTo>
                    <a:pt x="78435" y="836676"/>
                  </a:lnTo>
                  <a:lnTo>
                    <a:pt x="77152" y="837946"/>
                  </a:lnTo>
                  <a:lnTo>
                    <a:pt x="75857" y="838581"/>
                  </a:lnTo>
                  <a:lnTo>
                    <a:pt x="74574" y="839851"/>
                  </a:lnTo>
                  <a:lnTo>
                    <a:pt x="73291" y="839851"/>
                  </a:lnTo>
                  <a:lnTo>
                    <a:pt x="72009" y="840486"/>
                  </a:lnTo>
                  <a:lnTo>
                    <a:pt x="43078" y="840486"/>
                  </a:lnTo>
                  <a:lnTo>
                    <a:pt x="43078" y="957072"/>
                  </a:lnTo>
                  <a:lnTo>
                    <a:pt x="43078" y="962914"/>
                  </a:lnTo>
                  <a:lnTo>
                    <a:pt x="41783" y="964819"/>
                  </a:lnTo>
                  <a:lnTo>
                    <a:pt x="39852" y="967486"/>
                  </a:lnTo>
                  <a:lnTo>
                    <a:pt x="37287" y="969391"/>
                  </a:lnTo>
                  <a:lnTo>
                    <a:pt x="35356" y="970661"/>
                  </a:lnTo>
                  <a:lnTo>
                    <a:pt x="29578" y="970661"/>
                  </a:lnTo>
                  <a:lnTo>
                    <a:pt x="27000" y="969391"/>
                  </a:lnTo>
                  <a:lnTo>
                    <a:pt x="24434" y="967486"/>
                  </a:lnTo>
                  <a:lnTo>
                    <a:pt x="22504" y="964819"/>
                  </a:lnTo>
                  <a:lnTo>
                    <a:pt x="21209" y="962914"/>
                  </a:lnTo>
                  <a:lnTo>
                    <a:pt x="21209" y="957072"/>
                  </a:lnTo>
                  <a:lnTo>
                    <a:pt x="22504" y="954532"/>
                  </a:lnTo>
                  <a:lnTo>
                    <a:pt x="24434" y="951865"/>
                  </a:lnTo>
                  <a:lnTo>
                    <a:pt x="27000" y="949960"/>
                  </a:lnTo>
                  <a:lnTo>
                    <a:pt x="29578" y="948690"/>
                  </a:lnTo>
                  <a:lnTo>
                    <a:pt x="35356" y="948690"/>
                  </a:lnTo>
                  <a:lnTo>
                    <a:pt x="37287" y="949960"/>
                  </a:lnTo>
                  <a:lnTo>
                    <a:pt x="39852" y="951865"/>
                  </a:lnTo>
                  <a:lnTo>
                    <a:pt x="41783" y="954532"/>
                  </a:lnTo>
                  <a:lnTo>
                    <a:pt x="43078" y="957072"/>
                  </a:lnTo>
                  <a:lnTo>
                    <a:pt x="43078" y="840486"/>
                  </a:lnTo>
                  <a:lnTo>
                    <a:pt x="15430" y="840486"/>
                  </a:lnTo>
                  <a:lnTo>
                    <a:pt x="10287" y="843153"/>
                  </a:lnTo>
                  <a:lnTo>
                    <a:pt x="6426" y="846963"/>
                  </a:lnTo>
                  <a:lnTo>
                    <a:pt x="1930" y="851535"/>
                  </a:lnTo>
                  <a:lnTo>
                    <a:pt x="0" y="856742"/>
                  </a:lnTo>
                  <a:lnTo>
                    <a:pt x="0" y="976503"/>
                  </a:lnTo>
                  <a:lnTo>
                    <a:pt x="1930" y="981710"/>
                  </a:lnTo>
                  <a:lnTo>
                    <a:pt x="6426" y="985647"/>
                  </a:lnTo>
                  <a:lnTo>
                    <a:pt x="10287" y="990092"/>
                  </a:lnTo>
                  <a:lnTo>
                    <a:pt x="15430" y="992124"/>
                  </a:lnTo>
                  <a:lnTo>
                    <a:pt x="69430" y="992124"/>
                  </a:lnTo>
                  <a:lnTo>
                    <a:pt x="75717" y="992733"/>
                  </a:lnTo>
                  <a:lnTo>
                    <a:pt x="84048" y="994524"/>
                  </a:lnTo>
                  <a:lnTo>
                    <a:pt x="94564" y="997546"/>
                  </a:lnTo>
                  <a:lnTo>
                    <a:pt x="122301" y="1006881"/>
                  </a:lnTo>
                  <a:lnTo>
                    <a:pt x="136283" y="1010526"/>
                  </a:lnTo>
                  <a:lnTo>
                    <a:pt x="149301" y="1012736"/>
                  </a:lnTo>
                  <a:lnTo>
                    <a:pt x="161366" y="1013460"/>
                  </a:lnTo>
                  <a:lnTo>
                    <a:pt x="172440" y="1012609"/>
                  </a:lnTo>
                  <a:lnTo>
                    <a:pt x="205574" y="992441"/>
                  </a:lnTo>
                  <a:lnTo>
                    <a:pt x="213436" y="962914"/>
                  </a:lnTo>
                  <a:lnTo>
                    <a:pt x="217754" y="956271"/>
                  </a:lnTo>
                  <a:lnTo>
                    <a:pt x="220980" y="949007"/>
                  </a:lnTo>
                  <a:lnTo>
                    <a:pt x="223012" y="941273"/>
                  </a:lnTo>
                  <a:lnTo>
                    <a:pt x="223723" y="933196"/>
                  </a:lnTo>
                  <a:lnTo>
                    <a:pt x="223723" y="930529"/>
                  </a:lnTo>
                  <a:lnTo>
                    <a:pt x="223075" y="927989"/>
                  </a:lnTo>
                  <a:lnTo>
                    <a:pt x="223075" y="925957"/>
                  </a:lnTo>
                  <a:lnTo>
                    <a:pt x="226301" y="919480"/>
                  </a:lnTo>
                  <a:lnTo>
                    <a:pt x="228866" y="912368"/>
                  </a:lnTo>
                  <a:lnTo>
                    <a:pt x="228866" y="905891"/>
                  </a:lnTo>
                  <a:lnTo>
                    <a:pt x="257149" y="905891"/>
                  </a:lnTo>
                  <a:lnTo>
                    <a:pt x="293433" y="886294"/>
                  </a:lnTo>
                  <a:lnTo>
                    <a:pt x="299491" y="871029"/>
                  </a:lnTo>
                  <a:lnTo>
                    <a:pt x="300228" y="862584"/>
                  </a:lnTo>
                  <a:close/>
                </a:path>
                <a:path w="314325" h="2871470">
                  <a:moveTo>
                    <a:pt x="300228" y="480949"/>
                  </a:moveTo>
                  <a:lnTo>
                    <a:pt x="280835" y="445058"/>
                  </a:lnTo>
                  <a:lnTo>
                    <a:pt x="279019" y="444042"/>
                  </a:lnTo>
                  <a:lnTo>
                    <a:pt x="279019" y="475107"/>
                  </a:lnTo>
                  <a:lnTo>
                    <a:pt x="279019" y="486664"/>
                  </a:lnTo>
                  <a:lnTo>
                    <a:pt x="277088" y="491871"/>
                  </a:lnTo>
                  <a:lnTo>
                    <a:pt x="272580" y="495681"/>
                  </a:lnTo>
                  <a:lnTo>
                    <a:pt x="268084" y="500253"/>
                  </a:lnTo>
                  <a:lnTo>
                    <a:pt x="262940" y="502158"/>
                  </a:lnTo>
                  <a:lnTo>
                    <a:pt x="201866" y="502158"/>
                  </a:lnTo>
                  <a:lnTo>
                    <a:pt x="203796" y="504063"/>
                  </a:lnTo>
                  <a:lnTo>
                    <a:pt x="205079" y="506603"/>
                  </a:lnTo>
                  <a:lnTo>
                    <a:pt x="206362" y="510540"/>
                  </a:lnTo>
                  <a:lnTo>
                    <a:pt x="207594" y="516724"/>
                  </a:lnTo>
                  <a:lnTo>
                    <a:pt x="207657" y="527304"/>
                  </a:lnTo>
                  <a:lnTo>
                    <a:pt x="205079" y="533654"/>
                  </a:lnTo>
                  <a:lnTo>
                    <a:pt x="198653" y="539496"/>
                  </a:lnTo>
                  <a:lnTo>
                    <a:pt x="201218" y="543306"/>
                  </a:lnTo>
                  <a:lnTo>
                    <a:pt x="201866" y="547243"/>
                  </a:lnTo>
                  <a:lnTo>
                    <a:pt x="201866" y="555625"/>
                  </a:lnTo>
                  <a:lnTo>
                    <a:pt x="201218" y="559435"/>
                  </a:lnTo>
                  <a:lnTo>
                    <a:pt x="199301" y="563372"/>
                  </a:lnTo>
                  <a:lnTo>
                    <a:pt x="197370" y="567817"/>
                  </a:lnTo>
                  <a:lnTo>
                    <a:pt x="194157" y="570357"/>
                  </a:lnTo>
                  <a:lnTo>
                    <a:pt x="190931" y="572389"/>
                  </a:lnTo>
                  <a:lnTo>
                    <a:pt x="192227" y="578739"/>
                  </a:lnTo>
                  <a:lnTo>
                    <a:pt x="160083" y="609727"/>
                  </a:lnTo>
                  <a:lnTo>
                    <a:pt x="153187" y="609371"/>
                  </a:lnTo>
                  <a:lnTo>
                    <a:pt x="145935" y="608317"/>
                  </a:lnTo>
                  <a:lnTo>
                    <a:pt x="138188" y="606679"/>
                  </a:lnTo>
                  <a:lnTo>
                    <a:pt x="129857" y="604520"/>
                  </a:lnTo>
                  <a:lnTo>
                    <a:pt x="97713" y="593598"/>
                  </a:lnTo>
                  <a:lnTo>
                    <a:pt x="89852" y="591185"/>
                  </a:lnTo>
                  <a:lnTo>
                    <a:pt x="82600" y="589572"/>
                  </a:lnTo>
                  <a:lnTo>
                    <a:pt x="75831" y="588670"/>
                  </a:lnTo>
                  <a:lnTo>
                    <a:pt x="69430" y="588391"/>
                  </a:lnTo>
                  <a:lnTo>
                    <a:pt x="64287" y="588391"/>
                  </a:lnTo>
                  <a:lnTo>
                    <a:pt x="64287" y="566547"/>
                  </a:lnTo>
                  <a:lnTo>
                    <a:pt x="64287" y="480949"/>
                  </a:lnTo>
                  <a:lnTo>
                    <a:pt x="69430" y="480949"/>
                  </a:lnTo>
                  <a:lnTo>
                    <a:pt x="75577" y="480339"/>
                  </a:lnTo>
                  <a:lnTo>
                    <a:pt x="109931" y="453263"/>
                  </a:lnTo>
                  <a:lnTo>
                    <a:pt x="115824" y="446735"/>
                  </a:lnTo>
                  <a:lnTo>
                    <a:pt x="120929" y="440613"/>
                  </a:lnTo>
                  <a:lnTo>
                    <a:pt x="125196" y="434860"/>
                  </a:lnTo>
                  <a:lnTo>
                    <a:pt x="128574" y="429387"/>
                  </a:lnTo>
                  <a:lnTo>
                    <a:pt x="130505" y="426847"/>
                  </a:lnTo>
                  <a:lnTo>
                    <a:pt x="132435" y="422910"/>
                  </a:lnTo>
                  <a:lnTo>
                    <a:pt x="135001" y="418465"/>
                  </a:lnTo>
                  <a:lnTo>
                    <a:pt x="140208" y="407936"/>
                  </a:lnTo>
                  <a:lnTo>
                    <a:pt x="144399" y="400481"/>
                  </a:lnTo>
                  <a:lnTo>
                    <a:pt x="147739" y="396062"/>
                  </a:lnTo>
                  <a:lnTo>
                    <a:pt x="150431" y="394589"/>
                  </a:lnTo>
                  <a:lnTo>
                    <a:pt x="158140" y="394589"/>
                  </a:lnTo>
                  <a:lnTo>
                    <a:pt x="164579" y="396621"/>
                  </a:lnTo>
                  <a:lnTo>
                    <a:pt x="169722" y="399796"/>
                  </a:lnTo>
                  <a:lnTo>
                    <a:pt x="174218" y="403606"/>
                  </a:lnTo>
                  <a:lnTo>
                    <a:pt x="176796" y="408813"/>
                  </a:lnTo>
                  <a:lnTo>
                    <a:pt x="176796" y="421005"/>
                  </a:lnTo>
                  <a:lnTo>
                    <a:pt x="176149" y="426212"/>
                  </a:lnTo>
                  <a:lnTo>
                    <a:pt x="174218" y="430657"/>
                  </a:lnTo>
                  <a:lnTo>
                    <a:pt x="172935" y="435229"/>
                  </a:lnTo>
                  <a:lnTo>
                    <a:pt x="171005" y="439039"/>
                  </a:lnTo>
                  <a:lnTo>
                    <a:pt x="169075" y="441579"/>
                  </a:lnTo>
                  <a:lnTo>
                    <a:pt x="167030" y="445058"/>
                  </a:lnTo>
                  <a:lnTo>
                    <a:pt x="163296" y="451231"/>
                  </a:lnTo>
                  <a:lnTo>
                    <a:pt x="162001" y="454533"/>
                  </a:lnTo>
                  <a:lnTo>
                    <a:pt x="160718" y="457073"/>
                  </a:lnTo>
                  <a:lnTo>
                    <a:pt x="160718" y="458978"/>
                  </a:lnTo>
                  <a:lnTo>
                    <a:pt x="262940" y="458978"/>
                  </a:lnTo>
                  <a:lnTo>
                    <a:pt x="268084" y="461645"/>
                  </a:lnTo>
                  <a:lnTo>
                    <a:pt x="276440" y="469900"/>
                  </a:lnTo>
                  <a:lnTo>
                    <a:pt x="279019" y="475107"/>
                  </a:lnTo>
                  <a:lnTo>
                    <a:pt x="279019" y="444042"/>
                  </a:lnTo>
                  <a:lnTo>
                    <a:pt x="273710" y="441045"/>
                  </a:lnTo>
                  <a:lnTo>
                    <a:pt x="265849" y="438594"/>
                  </a:lnTo>
                  <a:lnTo>
                    <a:pt x="257149" y="437769"/>
                  </a:lnTo>
                  <a:lnTo>
                    <a:pt x="194792" y="437769"/>
                  </a:lnTo>
                  <a:lnTo>
                    <a:pt x="197370" y="431292"/>
                  </a:lnTo>
                  <a:lnTo>
                    <a:pt x="198653" y="424307"/>
                  </a:lnTo>
                  <a:lnTo>
                    <a:pt x="198539" y="415290"/>
                  </a:lnTo>
                  <a:lnTo>
                    <a:pt x="197789" y="406882"/>
                  </a:lnTo>
                  <a:lnTo>
                    <a:pt x="195199" y="398246"/>
                  </a:lnTo>
                  <a:lnTo>
                    <a:pt x="193052" y="394589"/>
                  </a:lnTo>
                  <a:lnTo>
                    <a:pt x="190779" y="390702"/>
                  </a:lnTo>
                  <a:lnTo>
                    <a:pt x="150431" y="373380"/>
                  </a:lnTo>
                  <a:lnTo>
                    <a:pt x="145935" y="373380"/>
                  </a:lnTo>
                  <a:lnTo>
                    <a:pt x="122796" y="395224"/>
                  </a:lnTo>
                  <a:lnTo>
                    <a:pt x="118287" y="402971"/>
                  </a:lnTo>
                  <a:lnTo>
                    <a:pt x="116357" y="407543"/>
                  </a:lnTo>
                  <a:lnTo>
                    <a:pt x="113792" y="411988"/>
                  </a:lnTo>
                  <a:lnTo>
                    <a:pt x="112509" y="415290"/>
                  </a:lnTo>
                  <a:lnTo>
                    <a:pt x="110578" y="417830"/>
                  </a:lnTo>
                  <a:lnTo>
                    <a:pt x="107416" y="422465"/>
                  </a:lnTo>
                  <a:lnTo>
                    <a:pt x="103657" y="427672"/>
                  </a:lnTo>
                  <a:lnTo>
                    <a:pt x="99174" y="433260"/>
                  </a:lnTo>
                  <a:lnTo>
                    <a:pt x="93865" y="439039"/>
                  </a:lnTo>
                  <a:lnTo>
                    <a:pt x="93865" y="439674"/>
                  </a:lnTo>
                  <a:lnTo>
                    <a:pt x="93218" y="440309"/>
                  </a:lnTo>
                  <a:lnTo>
                    <a:pt x="91935" y="442214"/>
                  </a:lnTo>
                  <a:lnTo>
                    <a:pt x="90652" y="443611"/>
                  </a:lnTo>
                  <a:lnTo>
                    <a:pt x="87426" y="446786"/>
                  </a:lnTo>
                  <a:lnTo>
                    <a:pt x="86791" y="448056"/>
                  </a:lnTo>
                  <a:lnTo>
                    <a:pt x="84861" y="449326"/>
                  </a:lnTo>
                  <a:lnTo>
                    <a:pt x="83578" y="451231"/>
                  </a:lnTo>
                  <a:lnTo>
                    <a:pt x="82283" y="451993"/>
                  </a:lnTo>
                  <a:lnTo>
                    <a:pt x="81000" y="453263"/>
                  </a:lnTo>
                  <a:lnTo>
                    <a:pt x="79717" y="453898"/>
                  </a:lnTo>
                  <a:lnTo>
                    <a:pt x="77152" y="456438"/>
                  </a:lnTo>
                  <a:lnTo>
                    <a:pt x="75857" y="457073"/>
                  </a:lnTo>
                  <a:lnTo>
                    <a:pt x="74574" y="458343"/>
                  </a:lnTo>
                  <a:lnTo>
                    <a:pt x="73291" y="458343"/>
                  </a:lnTo>
                  <a:lnTo>
                    <a:pt x="72009" y="458978"/>
                  </a:lnTo>
                  <a:lnTo>
                    <a:pt x="43078" y="458978"/>
                  </a:lnTo>
                  <a:lnTo>
                    <a:pt x="43078" y="574929"/>
                  </a:lnTo>
                  <a:lnTo>
                    <a:pt x="43078" y="580771"/>
                  </a:lnTo>
                  <a:lnTo>
                    <a:pt x="41783" y="582676"/>
                  </a:lnTo>
                  <a:lnTo>
                    <a:pt x="39852" y="585216"/>
                  </a:lnTo>
                  <a:lnTo>
                    <a:pt x="37287" y="587121"/>
                  </a:lnTo>
                  <a:lnTo>
                    <a:pt x="35356" y="588391"/>
                  </a:lnTo>
                  <a:lnTo>
                    <a:pt x="29578" y="588391"/>
                  </a:lnTo>
                  <a:lnTo>
                    <a:pt x="27000" y="587121"/>
                  </a:lnTo>
                  <a:lnTo>
                    <a:pt x="24434" y="585216"/>
                  </a:lnTo>
                  <a:lnTo>
                    <a:pt x="22504" y="582676"/>
                  </a:lnTo>
                  <a:lnTo>
                    <a:pt x="21209" y="580771"/>
                  </a:lnTo>
                  <a:lnTo>
                    <a:pt x="21209" y="574929"/>
                  </a:lnTo>
                  <a:lnTo>
                    <a:pt x="22504" y="572389"/>
                  </a:lnTo>
                  <a:lnTo>
                    <a:pt x="24434" y="569722"/>
                  </a:lnTo>
                  <a:lnTo>
                    <a:pt x="27000" y="567817"/>
                  </a:lnTo>
                  <a:lnTo>
                    <a:pt x="29578" y="566547"/>
                  </a:lnTo>
                  <a:lnTo>
                    <a:pt x="35356" y="566547"/>
                  </a:lnTo>
                  <a:lnTo>
                    <a:pt x="37287" y="567817"/>
                  </a:lnTo>
                  <a:lnTo>
                    <a:pt x="39852" y="569722"/>
                  </a:lnTo>
                  <a:lnTo>
                    <a:pt x="41783" y="572389"/>
                  </a:lnTo>
                  <a:lnTo>
                    <a:pt x="43078" y="574929"/>
                  </a:lnTo>
                  <a:lnTo>
                    <a:pt x="43078" y="458978"/>
                  </a:lnTo>
                  <a:lnTo>
                    <a:pt x="15430" y="458978"/>
                  </a:lnTo>
                  <a:lnTo>
                    <a:pt x="10287" y="461645"/>
                  </a:lnTo>
                  <a:lnTo>
                    <a:pt x="1930" y="469900"/>
                  </a:lnTo>
                  <a:lnTo>
                    <a:pt x="0" y="475107"/>
                  </a:lnTo>
                  <a:lnTo>
                    <a:pt x="0" y="594245"/>
                  </a:lnTo>
                  <a:lnTo>
                    <a:pt x="1930" y="599440"/>
                  </a:lnTo>
                  <a:lnTo>
                    <a:pt x="6426" y="603250"/>
                  </a:lnTo>
                  <a:lnTo>
                    <a:pt x="10287" y="607695"/>
                  </a:lnTo>
                  <a:lnTo>
                    <a:pt x="15430" y="609727"/>
                  </a:lnTo>
                  <a:lnTo>
                    <a:pt x="69430" y="609727"/>
                  </a:lnTo>
                  <a:lnTo>
                    <a:pt x="75717" y="610336"/>
                  </a:lnTo>
                  <a:lnTo>
                    <a:pt x="84048" y="612127"/>
                  </a:lnTo>
                  <a:lnTo>
                    <a:pt x="94564" y="615149"/>
                  </a:lnTo>
                  <a:lnTo>
                    <a:pt x="122301" y="624459"/>
                  </a:lnTo>
                  <a:lnTo>
                    <a:pt x="136283" y="628065"/>
                  </a:lnTo>
                  <a:lnTo>
                    <a:pt x="149301" y="630224"/>
                  </a:lnTo>
                  <a:lnTo>
                    <a:pt x="161366" y="630936"/>
                  </a:lnTo>
                  <a:lnTo>
                    <a:pt x="172440" y="630110"/>
                  </a:lnTo>
                  <a:lnTo>
                    <a:pt x="205574" y="610108"/>
                  </a:lnTo>
                  <a:lnTo>
                    <a:pt x="213436" y="580771"/>
                  </a:lnTo>
                  <a:lnTo>
                    <a:pt x="217754" y="574154"/>
                  </a:lnTo>
                  <a:lnTo>
                    <a:pt x="220980" y="566915"/>
                  </a:lnTo>
                  <a:lnTo>
                    <a:pt x="223012" y="559181"/>
                  </a:lnTo>
                  <a:lnTo>
                    <a:pt x="223723" y="551053"/>
                  </a:lnTo>
                  <a:lnTo>
                    <a:pt x="223723" y="548513"/>
                  </a:lnTo>
                  <a:lnTo>
                    <a:pt x="223075" y="545973"/>
                  </a:lnTo>
                  <a:lnTo>
                    <a:pt x="223075" y="544068"/>
                  </a:lnTo>
                  <a:lnTo>
                    <a:pt x="226301" y="537591"/>
                  </a:lnTo>
                  <a:lnTo>
                    <a:pt x="228866" y="530479"/>
                  </a:lnTo>
                  <a:lnTo>
                    <a:pt x="228866" y="524002"/>
                  </a:lnTo>
                  <a:lnTo>
                    <a:pt x="257149" y="524002"/>
                  </a:lnTo>
                  <a:lnTo>
                    <a:pt x="293433" y="504545"/>
                  </a:lnTo>
                  <a:lnTo>
                    <a:pt x="299491" y="489369"/>
                  </a:lnTo>
                  <a:lnTo>
                    <a:pt x="300228" y="480949"/>
                  </a:lnTo>
                  <a:close/>
                </a:path>
                <a:path w="314325" h="2871470">
                  <a:moveTo>
                    <a:pt x="310896" y="2720302"/>
                  </a:moveTo>
                  <a:lnTo>
                    <a:pt x="291401" y="2684284"/>
                  </a:lnTo>
                  <a:lnTo>
                    <a:pt x="289572" y="2683256"/>
                  </a:lnTo>
                  <a:lnTo>
                    <a:pt x="289572" y="2714472"/>
                  </a:lnTo>
                  <a:lnTo>
                    <a:pt x="289572" y="2726131"/>
                  </a:lnTo>
                  <a:lnTo>
                    <a:pt x="287629" y="2731312"/>
                  </a:lnTo>
                  <a:lnTo>
                    <a:pt x="283108" y="2735199"/>
                  </a:lnTo>
                  <a:lnTo>
                    <a:pt x="278587" y="2739733"/>
                  </a:lnTo>
                  <a:lnTo>
                    <a:pt x="273418" y="2741676"/>
                  </a:lnTo>
                  <a:lnTo>
                    <a:pt x="212039" y="2741676"/>
                  </a:lnTo>
                  <a:lnTo>
                    <a:pt x="213969" y="2743619"/>
                  </a:lnTo>
                  <a:lnTo>
                    <a:pt x="215265" y="2746210"/>
                  </a:lnTo>
                  <a:lnTo>
                    <a:pt x="216560" y="2750096"/>
                  </a:lnTo>
                  <a:lnTo>
                    <a:pt x="217805" y="2756331"/>
                  </a:lnTo>
                  <a:lnTo>
                    <a:pt x="217855" y="2766936"/>
                  </a:lnTo>
                  <a:lnTo>
                    <a:pt x="215265" y="2773413"/>
                  </a:lnTo>
                  <a:lnTo>
                    <a:pt x="208800" y="2779242"/>
                  </a:lnTo>
                  <a:lnTo>
                    <a:pt x="211391" y="2783128"/>
                  </a:lnTo>
                  <a:lnTo>
                    <a:pt x="212039" y="2787015"/>
                  </a:lnTo>
                  <a:lnTo>
                    <a:pt x="212039" y="2795435"/>
                  </a:lnTo>
                  <a:lnTo>
                    <a:pt x="211391" y="2799321"/>
                  </a:lnTo>
                  <a:lnTo>
                    <a:pt x="209448" y="2803207"/>
                  </a:lnTo>
                  <a:lnTo>
                    <a:pt x="207518" y="2807741"/>
                  </a:lnTo>
                  <a:lnTo>
                    <a:pt x="204279" y="2810332"/>
                  </a:lnTo>
                  <a:lnTo>
                    <a:pt x="201053" y="2812275"/>
                  </a:lnTo>
                  <a:lnTo>
                    <a:pt x="202349" y="2818752"/>
                  </a:lnTo>
                  <a:lnTo>
                    <a:pt x="170040" y="2849842"/>
                  </a:lnTo>
                  <a:lnTo>
                    <a:pt x="163106" y="2849499"/>
                  </a:lnTo>
                  <a:lnTo>
                    <a:pt x="155816" y="2848470"/>
                  </a:lnTo>
                  <a:lnTo>
                    <a:pt x="148031" y="2846844"/>
                  </a:lnTo>
                  <a:lnTo>
                    <a:pt x="139661" y="2844660"/>
                  </a:lnTo>
                  <a:lnTo>
                    <a:pt x="107353" y="2833649"/>
                  </a:lnTo>
                  <a:lnTo>
                    <a:pt x="99453" y="2831211"/>
                  </a:lnTo>
                  <a:lnTo>
                    <a:pt x="92163" y="2829610"/>
                  </a:lnTo>
                  <a:lnTo>
                    <a:pt x="85369" y="2828734"/>
                  </a:lnTo>
                  <a:lnTo>
                    <a:pt x="78930" y="2828467"/>
                  </a:lnTo>
                  <a:lnTo>
                    <a:pt x="73761" y="2828467"/>
                  </a:lnTo>
                  <a:lnTo>
                    <a:pt x="73761" y="2806446"/>
                  </a:lnTo>
                  <a:lnTo>
                    <a:pt x="73761" y="2720302"/>
                  </a:lnTo>
                  <a:lnTo>
                    <a:pt x="78930" y="2720302"/>
                  </a:lnTo>
                  <a:lnTo>
                    <a:pt x="85115" y="2719705"/>
                  </a:lnTo>
                  <a:lnTo>
                    <a:pt x="119634" y="2692450"/>
                  </a:lnTo>
                  <a:lnTo>
                    <a:pt x="125552" y="2685885"/>
                  </a:lnTo>
                  <a:lnTo>
                    <a:pt x="130695" y="2679750"/>
                  </a:lnTo>
                  <a:lnTo>
                    <a:pt x="134988" y="2673972"/>
                  </a:lnTo>
                  <a:lnTo>
                    <a:pt x="138379" y="2668486"/>
                  </a:lnTo>
                  <a:lnTo>
                    <a:pt x="140296" y="2665895"/>
                  </a:lnTo>
                  <a:lnTo>
                    <a:pt x="142252" y="2662009"/>
                  </a:lnTo>
                  <a:lnTo>
                    <a:pt x="144830" y="2657475"/>
                  </a:lnTo>
                  <a:lnTo>
                    <a:pt x="150063" y="2646908"/>
                  </a:lnTo>
                  <a:lnTo>
                    <a:pt x="154279" y="2639428"/>
                  </a:lnTo>
                  <a:lnTo>
                    <a:pt x="157632" y="2634983"/>
                  </a:lnTo>
                  <a:lnTo>
                    <a:pt x="160337" y="2633510"/>
                  </a:lnTo>
                  <a:lnTo>
                    <a:pt x="168097" y="2633510"/>
                  </a:lnTo>
                  <a:lnTo>
                    <a:pt x="174561" y="2635453"/>
                  </a:lnTo>
                  <a:lnTo>
                    <a:pt x="179730" y="2638691"/>
                  </a:lnTo>
                  <a:lnTo>
                    <a:pt x="184251" y="2642578"/>
                  </a:lnTo>
                  <a:lnTo>
                    <a:pt x="186829" y="2647759"/>
                  </a:lnTo>
                  <a:lnTo>
                    <a:pt x="186829" y="2660065"/>
                  </a:lnTo>
                  <a:lnTo>
                    <a:pt x="186194" y="2665247"/>
                  </a:lnTo>
                  <a:lnTo>
                    <a:pt x="184251" y="2669781"/>
                  </a:lnTo>
                  <a:lnTo>
                    <a:pt x="182956" y="2674315"/>
                  </a:lnTo>
                  <a:lnTo>
                    <a:pt x="181025" y="2678201"/>
                  </a:lnTo>
                  <a:lnTo>
                    <a:pt x="179082" y="2680792"/>
                  </a:lnTo>
                  <a:lnTo>
                    <a:pt x="173266" y="2690507"/>
                  </a:lnTo>
                  <a:lnTo>
                    <a:pt x="171970" y="2693746"/>
                  </a:lnTo>
                  <a:lnTo>
                    <a:pt x="170675" y="2696337"/>
                  </a:lnTo>
                  <a:lnTo>
                    <a:pt x="170675" y="2698280"/>
                  </a:lnTo>
                  <a:lnTo>
                    <a:pt x="273418" y="2698280"/>
                  </a:lnTo>
                  <a:lnTo>
                    <a:pt x="278587" y="2700871"/>
                  </a:lnTo>
                  <a:lnTo>
                    <a:pt x="286994" y="2709291"/>
                  </a:lnTo>
                  <a:lnTo>
                    <a:pt x="289572" y="2714472"/>
                  </a:lnTo>
                  <a:lnTo>
                    <a:pt x="289572" y="2683256"/>
                  </a:lnTo>
                  <a:lnTo>
                    <a:pt x="284238" y="2680233"/>
                  </a:lnTo>
                  <a:lnTo>
                    <a:pt x="276339" y="2677757"/>
                  </a:lnTo>
                  <a:lnTo>
                    <a:pt x="267601" y="2676906"/>
                  </a:lnTo>
                  <a:lnTo>
                    <a:pt x="204927" y="2676906"/>
                  </a:lnTo>
                  <a:lnTo>
                    <a:pt x="207518" y="2670429"/>
                  </a:lnTo>
                  <a:lnTo>
                    <a:pt x="208800" y="2663304"/>
                  </a:lnTo>
                  <a:lnTo>
                    <a:pt x="208673" y="2654236"/>
                  </a:lnTo>
                  <a:lnTo>
                    <a:pt x="207937" y="2645829"/>
                  </a:lnTo>
                  <a:lnTo>
                    <a:pt x="179158" y="2614980"/>
                  </a:lnTo>
                  <a:lnTo>
                    <a:pt x="160337" y="2612136"/>
                  </a:lnTo>
                  <a:lnTo>
                    <a:pt x="155816" y="2612136"/>
                  </a:lnTo>
                  <a:lnTo>
                    <a:pt x="132562" y="2634157"/>
                  </a:lnTo>
                  <a:lnTo>
                    <a:pt x="130619" y="2637396"/>
                  </a:lnTo>
                  <a:lnTo>
                    <a:pt x="128041" y="2641930"/>
                  </a:lnTo>
                  <a:lnTo>
                    <a:pt x="126098" y="2646464"/>
                  </a:lnTo>
                  <a:lnTo>
                    <a:pt x="123507" y="2650998"/>
                  </a:lnTo>
                  <a:lnTo>
                    <a:pt x="122224" y="2654236"/>
                  </a:lnTo>
                  <a:lnTo>
                    <a:pt x="120281" y="2656827"/>
                  </a:lnTo>
                  <a:lnTo>
                    <a:pt x="117106" y="2661539"/>
                  </a:lnTo>
                  <a:lnTo>
                    <a:pt x="113334" y="2666796"/>
                  </a:lnTo>
                  <a:lnTo>
                    <a:pt x="108826" y="2672410"/>
                  </a:lnTo>
                  <a:lnTo>
                    <a:pt x="103479" y="2678201"/>
                  </a:lnTo>
                  <a:lnTo>
                    <a:pt x="103479" y="2678849"/>
                  </a:lnTo>
                  <a:lnTo>
                    <a:pt x="102831" y="2679496"/>
                  </a:lnTo>
                  <a:lnTo>
                    <a:pt x="101549" y="2681440"/>
                  </a:lnTo>
                  <a:lnTo>
                    <a:pt x="97015" y="2685973"/>
                  </a:lnTo>
                  <a:lnTo>
                    <a:pt x="96380" y="2687269"/>
                  </a:lnTo>
                  <a:lnTo>
                    <a:pt x="94437" y="2688564"/>
                  </a:lnTo>
                  <a:lnTo>
                    <a:pt x="93141" y="2690507"/>
                  </a:lnTo>
                  <a:lnTo>
                    <a:pt x="91846" y="2691155"/>
                  </a:lnTo>
                  <a:lnTo>
                    <a:pt x="90563" y="2692450"/>
                  </a:lnTo>
                  <a:lnTo>
                    <a:pt x="89268" y="2693098"/>
                  </a:lnTo>
                  <a:lnTo>
                    <a:pt x="86677" y="2695689"/>
                  </a:lnTo>
                  <a:lnTo>
                    <a:pt x="85394" y="2696337"/>
                  </a:lnTo>
                  <a:lnTo>
                    <a:pt x="84099" y="2697632"/>
                  </a:lnTo>
                  <a:lnTo>
                    <a:pt x="82804" y="2697632"/>
                  </a:lnTo>
                  <a:lnTo>
                    <a:pt x="81508" y="2698280"/>
                  </a:lnTo>
                  <a:lnTo>
                    <a:pt x="52438" y="2698280"/>
                  </a:lnTo>
                  <a:lnTo>
                    <a:pt x="52438" y="2814866"/>
                  </a:lnTo>
                  <a:lnTo>
                    <a:pt x="52438" y="2820695"/>
                  </a:lnTo>
                  <a:lnTo>
                    <a:pt x="51142" y="2822638"/>
                  </a:lnTo>
                  <a:lnTo>
                    <a:pt x="49199" y="2825229"/>
                  </a:lnTo>
                  <a:lnTo>
                    <a:pt x="46621" y="2827172"/>
                  </a:lnTo>
                  <a:lnTo>
                    <a:pt x="44678" y="2828467"/>
                  </a:lnTo>
                  <a:lnTo>
                    <a:pt x="38862" y="2828467"/>
                  </a:lnTo>
                  <a:lnTo>
                    <a:pt x="36283" y="2827172"/>
                  </a:lnTo>
                  <a:lnTo>
                    <a:pt x="33693" y="2825229"/>
                  </a:lnTo>
                  <a:lnTo>
                    <a:pt x="31762" y="2822638"/>
                  </a:lnTo>
                  <a:lnTo>
                    <a:pt x="30467" y="2820695"/>
                  </a:lnTo>
                  <a:lnTo>
                    <a:pt x="30467" y="2814866"/>
                  </a:lnTo>
                  <a:lnTo>
                    <a:pt x="31762" y="2812275"/>
                  </a:lnTo>
                  <a:lnTo>
                    <a:pt x="33693" y="2809684"/>
                  </a:lnTo>
                  <a:lnTo>
                    <a:pt x="36283" y="2807741"/>
                  </a:lnTo>
                  <a:lnTo>
                    <a:pt x="38862" y="2806446"/>
                  </a:lnTo>
                  <a:lnTo>
                    <a:pt x="44678" y="2806446"/>
                  </a:lnTo>
                  <a:lnTo>
                    <a:pt x="46621" y="2807741"/>
                  </a:lnTo>
                  <a:lnTo>
                    <a:pt x="49199" y="2809684"/>
                  </a:lnTo>
                  <a:lnTo>
                    <a:pt x="51142" y="2812275"/>
                  </a:lnTo>
                  <a:lnTo>
                    <a:pt x="52438" y="2814866"/>
                  </a:lnTo>
                  <a:lnTo>
                    <a:pt x="52438" y="2698280"/>
                  </a:lnTo>
                  <a:lnTo>
                    <a:pt x="24650" y="2698280"/>
                  </a:lnTo>
                  <a:lnTo>
                    <a:pt x="19481" y="2700871"/>
                  </a:lnTo>
                  <a:lnTo>
                    <a:pt x="11087" y="2709291"/>
                  </a:lnTo>
                  <a:lnTo>
                    <a:pt x="9144" y="2714472"/>
                  </a:lnTo>
                  <a:lnTo>
                    <a:pt x="9144" y="2834297"/>
                  </a:lnTo>
                  <a:lnTo>
                    <a:pt x="11087" y="2839478"/>
                  </a:lnTo>
                  <a:lnTo>
                    <a:pt x="15608" y="2843365"/>
                  </a:lnTo>
                  <a:lnTo>
                    <a:pt x="19481" y="2847898"/>
                  </a:lnTo>
                  <a:lnTo>
                    <a:pt x="24650" y="2849842"/>
                  </a:lnTo>
                  <a:lnTo>
                    <a:pt x="78930" y="2849842"/>
                  </a:lnTo>
                  <a:lnTo>
                    <a:pt x="85242" y="2850451"/>
                  </a:lnTo>
                  <a:lnTo>
                    <a:pt x="93624" y="2852280"/>
                  </a:lnTo>
                  <a:lnTo>
                    <a:pt x="104178" y="2855315"/>
                  </a:lnTo>
                  <a:lnTo>
                    <a:pt x="132067" y="2864662"/>
                  </a:lnTo>
                  <a:lnTo>
                    <a:pt x="146126" y="2868307"/>
                  </a:lnTo>
                  <a:lnTo>
                    <a:pt x="159207" y="2870492"/>
                  </a:lnTo>
                  <a:lnTo>
                    <a:pt x="171323" y="2871216"/>
                  </a:lnTo>
                  <a:lnTo>
                    <a:pt x="182448" y="2870377"/>
                  </a:lnTo>
                  <a:lnTo>
                    <a:pt x="215747" y="2850210"/>
                  </a:lnTo>
                  <a:lnTo>
                    <a:pt x="223659" y="2820695"/>
                  </a:lnTo>
                  <a:lnTo>
                    <a:pt x="228003" y="2814040"/>
                  </a:lnTo>
                  <a:lnTo>
                    <a:pt x="231254" y="2806776"/>
                  </a:lnTo>
                  <a:lnTo>
                    <a:pt x="233299" y="2799029"/>
                  </a:lnTo>
                  <a:lnTo>
                    <a:pt x="234010" y="2790901"/>
                  </a:lnTo>
                  <a:lnTo>
                    <a:pt x="234010" y="2788310"/>
                  </a:lnTo>
                  <a:lnTo>
                    <a:pt x="233362" y="2785719"/>
                  </a:lnTo>
                  <a:lnTo>
                    <a:pt x="233362" y="2783776"/>
                  </a:lnTo>
                  <a:lnTo>
                    <a:pt x="236588" y="2777299"/>
                  </a:lnTo>
                  <a:lnTo>
                    <a:pt x="239179" y="2770174"/>
                  </a:lnTo>
                  <a:lnTo>
                    <a:pt x="239179" y="2763697"/>
                  </a:lnTo>
                  <a:lnTo>
                    <a:pt x="267601" y="2763697"/>
                  </a:lnTo>
                  <a:lnTo>
                    <a:pt x="304076" y="2744076"/>
                  </a:lnTo>
                  <a:lnTo>
                    <a:pt x="310146" y="2728798"/>
                  </a:lnTo>
                  <a:lnTo>
                    <a:pt x="310896" y="2720302"/>
                  </a:lnTo>
                  <a:close/>
                </a:path>
                <a:path w="314325" h="2871470">
                  <a:moveTo>
                    <a:pt x="310896" y="1598676"/>
                  </a:moveTo>
                  <a:lnTo>
                    <a:pt x="291401" y="1562646"/>
                  </a:lnTo>
                  <a:lnTo>
                    <a:pt x="289572" y="1561617"/>
                  </a:lnTo>
                  <a:lnTo>
                    <a:pt x="289572" y="1592834"/>
                  </a:lnTo>
                  <a:lnTo>
                    <a:pt x="289572" y="1604518"/>
                  </a:lnTo>
                  <a:lnTo>
                    <a:pt x="287629" y="1609598"/>
                  </a:lnTo>
                  <a:lnTo>
                    <a:pt x="283108" y="1613535"/>
                  </a:lnTo>
                  <a:lnTo>
                    <a:pt x="278587" y="1618107"/>
                  </a:lnTo>
                  <a:lnTo>
                    <a:pt x="273418" y="1620012"/>
                  </a:lnTo>
                  <a:lnTo>
                    <a:pt x="212039" y="1620012"/>
                  </a:lnTo>
                  <a:lnTo>
                    <a:pt x="213969" y="1621917"/>
                  </a:lnTo>
                  <a:lnTo>
                    <a:pt x="215265" y="1624584"/>
                  </a:lnTo>
                  <a:lnTo>
                    <a:pt x="216560" y="1628394"/>
                  </a:lnTo>
                  <a:lnTo>
                    <a:pt x="217805" y="1634655"/>
                  </a:lnTo>
                  <a:lnTo>
                    <a:pt x="217855" y="1645285"/>
                  </a:lnTo>
                  <a:lnTo>
                    <a:pt x="215265" y="1651762"/>
                  </a:lnTo>
                  <a:lnTo>
                    <a:pt x="208800" y="1657604"/>
                  </a:lnTo>
                  <a:lnTo>
                    <a:pt x="211391" y="1661414"/>
                  </a:lnTo>
                  <a:lnTo>
                    <a:pt x="212039" y="1665351"/>
                  </a:lnTo>
                  <a:lnTo>
                    <a:pt x="212039" y="1673733"/>
                  </a:lnTo>
                  <a:lnTo>
                    <a:pt x="211391" y="1677670"/>
                  </a:lnTo>
                  <a:lnTo>
                    <a:pt x="209448" y="1681607"/>
                  </a:lnTo>
                  <a:lnTo>
                    <a:pt x="207518" y="1686052"/>
                  </a:lnTo>
                  <a:lnTo>
                    <a:pt x="204279" y="1688719"/>
                  </a:lnTo>
                  <a:lnTo>
                    <a:pt x="201053" y="1690624"/>
                  </a:lnTo>
                  <a:lnTo>
                    <a:pt x="202349" y="1697101"/>
                  </a:lnTo>
                  <a:lnTo>
                    <a:pt x="202349" y="1700276"/>
                  </a:lnTo>
                  <a:lnTo>
                    <a:pt x="200279" y="1712595"/>
                  </a:lnTo>
                  <a:lnTo>
                    <a:pt x="194183" y="1721294"/>
                  </a:lnTo>
                  <a:lnTo>
                    <a:pt x="184073" y="1726501"/>
                  </a:lnTo>
                  <a:lnTo>
                    <a:pt x="170040" y="1728216"/>
                  </a:lnTo>
                  <a:lnTo>
                    <a:pt x="163106" y="1727860"/>
                  </a:lnTo>
                  <a:lnTo>
                    <a:pt x="155816" y="1726806"/>
                  </a:lnTo>
                  <a:lnTo>
                    <a:pt x="148031" y="1725168"/>
                  </a:lnTo>
                  <a:lnTo>
                    <a:pt x="139661" y="1723009"/>
                  </a:lnTo>
                  <a:lnTo>
                    <a:pt x="131521" y="1720176"/>
                  </a:lnTo>
                  <a:lnTo>
                    <a:pt x="115481" y="1714804"/>
                  </a:lnTo>
                  <a:lnTo>
                    <a:pt x="78930" y="1706753"/>
                  </a:lnTo>
                  <a:lnTo>
                    <a:pt x="73761" y="1706753"/>
                  </a:lnTo>
                  <a:lnTo>
                    <a:pt x="73761" y="1684782"/>
                  </a:lnTo>
                  <a:lnTo>
                    <a:pt x="73761" y="1598676"/>
                  </a:lnTo>
                  <a:lnTo>
                    <a:pt x="78930" y="1598676"/>
                  </a:lnTo>
                  <a:lnTo>
                    <a:pt x="85115" y="1598066"/>
                  </a:lnTo>
                  <a:lnTo>
                    <a:pt x="119634" y="1570736"/>
                  </a:lnTo>
                  <a:lnTo>
                    <a:pt x="125552" y="1564208"/>
                  </a:lnTo>
                  <a:lnTo>
                    <a:pt x="130695" y="1558086"/>
                  </a:lnTo>
                  <a:lnTo>
                    <a:pt x="134988" y="1552333"/>
                  </a:lnTo>
                  <a:lnTo>
                    <a:pt x="138379" y="1546860"/>
                  </a:lnTo>
                  <a:lnTo>
                    <a:pt x="140296" y="1544193"/>
                  </a:lnTo>
                  <a:lnTo>
                    <a:pt x="142252" y="1540383"/>
                  </a:lnTo>
                  <a:lnTo>
                    <a:pt x="144830" y="1535811"/>
                  </a:lnTo>
                  <a:lnTo>
                    <a:pt x="150063" y="1525257"/>
                  </a:lnTo>
                  <a:lnTo>
                    <a:pt x="154279" y="1517764"/>
                  </a:lnTo>
                  <a:lnTo>
                    <a:pt x="157632" y="1513293"/>
                  </a:lnTo>
                  <a:lnTo>
                    <a:pt x="160337" y="1511808"/>
                  </a:lnTo>
                  <a:lnTo>
                    <a:pt x="168097" y="1511808"/>
                  </a:lnTo>
                  <a:lnTo>
                    <a:pt x="174561" y="1513840"/>
                  </a:lnTo>
                  <a:lnTo>
                    <a:pt x="179730" y="1517015"/>
                  </a:lnTo>
                  <a:lnTo>
                    <a:pt x="184251" y="1520952"/>
                  </a:lnTo>
                  <a:lnTo>
                    <a:pt x="186829" y="1526032"/>
                  </a:lnTo>
                  <a:lnTo>
                    <a:pt x="186829" y="1538351"/>
                  </a:lnTo>
                  <a:lnTo>
                    <a:pt x="186194" y="1543558"/>
                  </a:lnTo>
                  <a:lnTo>
                    <a:pt x="184251" y="1548130"/>
                  </a:lnTo>
                  <a:lnTo>
                    <a:pt x="182956" y="1552702"/>
                  </a:lnTo>
                  <a:lnTo>
                    <a:pt x="181025" y="1556512"/>
                  </a:lnTo>
                  <a:lnTo>
                    <a:pt x="179082" y="1559179"/>
                  </a:lnTo>
                  <a:lnTo>
                    <a:pt x="177139" y="1562354"/>
                  </a:lnTo>
                  <a:lnTo>
                    <a:pt x="175209" y="1565656"/>
                  </a:lnTo>
                  <a:lnTo>
                    <a:pt x="173266" y="1568831"/>
                  </a:lnTo>
                  <a:lnTo>
                    <a:pt x="171970" y="1572133"/>
                  </a:lnTo>
                  <a:lnTo>
                    <a:pt x="170675" y="1574673"/>
                  </a:lnTo>
                  <a:lnTo>
                    <a:pt x="170675" y="1576578"/>
                  </a:lnTo>
                  <a:lnTo>
                    <a:pt x="273418" y="1576578"/>
                  </a:lnTo>
                  <a:lnTo>
                    <a:pt x="278587" y="1579245"/>
                  </a:lnTo>
                  <a:lnTo>
                    <a:pt x="283108" y="1583690"/>
                  </a:lnTo>
                  <a:lnTo>
                    <a:pt x="286994" y="1587627"/>
                  </a:lnTo>
                  <a:lnTo>
                    <a:pt x="289572" y="1592834"/>
                  </a:lnTo>
                  <a:lnTo>
                    <a:pt x="289572" y="1561617"/>
                  </a:lnTo>
                  <a:lnTo>
                    <a:pt x="284238" y="1558582"/>
                  </a:lnTo>
                  <a:lnTo>
                    <a:pt x="276339" y="1556092"/>
                  </a:lnTo>
                  <a:lnTo>
                    <a:pt x="267601" y="1555242"/>
                  </a:lnTo>
                  <a:lnTo>
                    <a:pt x="204927" y="1555242"/>
                  </a:lnTo>
                  <a:lnTo>
                    <a:pt x="207518" y="1548765"/>
                  </a:lnTo>
                  <a:lnTo>
                    <a:pt x="208800" y="1541653"/>
                  </a:lnTo>
                  <a:lnTo>
                    <a:pt x="208673" y="1532509"/>
                  </a:lnTo>
                  <a:lnTo>
                    <a:pt x="207937" y="1524203"/>
                  </a:lnTo>
                  <a:lnTo>
                    <a:pt x="179158" y="1493329"/>
                  </a:lnTo>
                  <a:lnTo>
                    <a:pt x="160337" y="1490472"/>
                  </a:lnTo>
                  <a:lnTo>
                    <a:pt x="155816" y="1490472"/>
                  </a:lnTo>
                  <a:lnTo>
                    <a:pt x="132562" y="1512443"/>
                  </a:lnTo>
                  <a:lnTo>
                    <a:pt x="130619" y="1515745"/>
                  </a:lnTo>
                  <a:lnTo>
                    <a:pt x="128041" y="1520317"/>
                  </a:lnTo>
                  <a:lnTo>
                    <a:pt x="126098" y="1524762"/>
                  </a:lnTo>
                  <a:lnTo>
                    <a:pt x="123507" y="1529334"/>
                  </a:lnTo>
                  <a:lnTo>
                    <a:pt x="122224" y="1532509"/>
                  </a:lnTo>
                  <a:lnTo>
                    <a:pt x="120281" y="1535176"/>
                  </a:lnTo>
                  <a:lnTo>
                    <a:pt x="117106" y="1539887"/>
                  </a:lnTo>
                  <a:lnTo>
                    <a:pt x="113334" y="1545132"/>
                  </a:lnTo>
                  <a:lnTo>
                    <a:pt x="108826" y="1550733"/>
                  </a:lnTo>
                  <a:lnTo>
                    <a:pt x="103479" y="1556512"/>
                  </a:lnTo>
                  <a:lnTo>
                    <a:pt x="103479" y="1557147"/>
                  </a:lnTo>
                  <a:lnTo>
                    <a:pt x="102831" y="1557782"/>
                  </a:lnTo>
                  <a:lnTo>
                    <a:pt x="101549" y="1559814"/>
                  </a:lnTo>
                  <a:lnTo>
                    <a:pt x="97015" y="1564259"/>
                  </a:lnTo>
                  <a:lnTo>
                    <a:pt x="96380" y="1565656"/>
                  </a:lnTo>
                  <a:lnTo>
                    <a:pt x="94437" y="1566926"/>
                  </a:lnTo>
                  <a:lnTo>
                    <a:pt x="93141" y="1568831"/>
                  </a:lnTo>
                  <a:lnTo>
                    <a:pt x="91846" y="1569466"/>
                  </a:lnTo>
                  <a:lnTo>
                    <a:pt x="90563" y="1570736"/>
                  </a:lnTo>
                  <a:lnTo>
                    <a:pt x="89268" y="1571371"/>
                  </a:lnTo>
                  <a:lnTo>
                    <a:pt x="87972" y="1572768"/>
                  </a:lnTo>
                  <a:lnTo>
                    <a:pt x="86677" y="1574038"/>
                  </a:lnTo>
                  <a:lnTo>
                    <a:pt x="85394" y="1574673"/>
                  </a:lnTo>
                  <a:lnTo>
                    <a:pt x="84099" y="1575943"/>
                  </a:lnTo>
                  <a:lnTo>
                    <a:pt x="82804" y="1575943"/>
                  </a:lnTo>
                  <a:lnTo>
                    <a:pt x="81508" y="1576578"/>
                  </a:lnTo>
                  <a:lnTo>
                    <a:pt x="52438" y="1576578"/>
                  </a:lnTo>
                  <a:lnTo>
                    <a:pt x="52438" y="1693164"/>
                  </a:lnTo>
                  <a:lnTo>
                    <a:pt x="52438" y="1699006"/>
                  </a:lnTo>
                  <a:lnTo>
                    <a:pt x="51142" y="1701038"/>
                  </a:lnTo>
                  <a:lnTo>
                    <a:pt x="49199" y="1703578"/>
                  </a:lnTo>
                  <a:lnTo>
                    <a:pt x="46621" y="1705483"/>
                  </a:lnTo>
                  <a:lnTo>
                    <a:pt x="44678" y="1706753"/>
                  </a:lnTo>
                  <a:lnTo>
                    <a:pt x="38862" y="1706753"/>
                  </a:lnTo>
                  <a:lnTo>
                    <a:pt x="36283" y="1705483"/>
                  </a:lnTo>
                  <a:lnTo>
                    <a:pt x="33693" y="1703578"/>
                  </a:lnTo>
                  <a:lnTo>
                    <a:pt x="31762" y="1701038"/>
                  </a:lnTo>
                  <a:lnTo>
                    <a:pt x="30467" y="1699006"/>
                  </a:lnTo>
                  <a:lnTo>
                    <a:pt x="30467" y="1693164"/>
                  </a:lnTo>
                  <a:lnTo>
                    <a:pt x="31762" y="1690624"/>
                  </a:lnTo>
                  <a:lnTo>
                    <a:pt x="33693" y="1687957"/>
                  </a:lnTo>
                  <a:lnTo>
                    <a:pt x="36283" y="1686052"/>
                  </a:lnTo>
                  <a:lnTo>
                    <a:pt x="38862" y="1684782"/>
                  </a:lnTo>
                  <a:lnTo>
                    <a:pt x="44678" y="1684782"/>
                  </a:lnTo>
                  <a:lnTo>
                    <a:pt x="46621" y="1686052"/>
                  </a:lnTo>
                  <a:lnTo>
                    <a:pt x="49199" y="1687957"/>
                  </a:lnTo>
                  <a:lnTo>
                    <a:pt x="51142" y="1690624"/>
                  </a:lnTo>
                  <a:lnTo>
                    <a:pt x="52438" y="1693164"/>
                  </a:lnTo>
                  <a:lnTo>
                    <a:pt x="52438" y="1576578"/>
                  </a:lnTo>
                  <a:lnTo>
                    <a:pt x="24650" y="1576578"/>
                  </a:lnTo>
                  <a:lnTo>
                    <a:pt x="19481" y="1579245"/>
                  </a:lnTo>
                  <a:lnTo>
                    <a:pt x="15608" y="1583055"/>
                  </a:lnTo>
                  <a:lnTo>
                    <a:pt x="11087" y="1587627"/>
                  </a:lnTo>
                  <a:lnTo>
                    <a:pt x="9144" y="1592834"/>
                  </a:lnTo>
                  <a:lnTo>
                    <a:pt x="9144" y="1712595"/>
                  </a:lnTo>
                  <a:lnTo>
                    <a:pt x="11087" y="1717802"/>
                  </a:lnTo>
                  <a:lnTo>
                    <a:pt x="15608" y="1721739"/>
                  </a:lnTo>
                  <a:lnTo>
                    <a:pt x="19481" y="1726184"/>
                  </a:lnTo>
                  <a:lnTo>
                    <a:pt x="24650" y="1728216"/>
                  </a:lnTo>
                  <a:lnTo>
                    <a:pt x="78930" y="1728216"/>
                  </a:lnTo>
                  <a:lnTo>
                    <a:pt x="85242" y="1728825"/>
                  </a:lnTo>
                  <a:lnTo>
                    <a:pt x="93624" y="1730629"/>
                  </a:lnTo>
                  <a:lnTo>
                    <a:pt x="104178" y="1733651"/>
                  </a:lnTo>
                  <a:lnTo>
                    <a:pt x="132067" y="1742998"/>
                  </a:lnTo>
                  <a:lnTo>
                    <a:pt x="146126" y="1746643"/>
                  </a:lnTo>
                  <a:lnTo>
                    <a:pt x="159207" y="1748828"/>
                  </a:lnTo>
                  <a:lnTo>
                    <a:pt x="171323" y="1749552"/>
                  </a:lnTo>
                  <a:lnTo>
                    <a:pt x="182448" y="1748713"/>
                  </a:lnTo>
                  <a:lnTo>
                    <a:pt x="215747" y="1728533"/>
                  </a:lnTo>
                  <a:lnTo>
                    <a:pt x="223659" y="1699006"/>
                  </a:lnTo>
                  <a:lnTo>
                    <a:pt x="228003" y="1692363"/>
                  </a:lnTo>
                  <a:lnTo>
                    <a:pt x="231254" y="1685099"/>
                  </a:lnTo>
                  <a:lnTo>
                    <a:pt x="233299" y="1677365"/>
                  </a:lnTo>
                  <a:lnTo>
                    <a:pt x="234010" y="1669288"/>
                  </a:lnTo>
                  <a:lnTo>
                    <a:pt x="234010" y="1666621"/>
                  </a:lnTo>
                  <a:lnTo>
                    <a:pt x="233362" y="1664081"/>
                  </a:lnTo>
                  <a:lnTo>
                    <a:pt x="233362" y="1662049"/>
                  </a:lnTo>
                  <a:lnTo>
                    <a:pt x="236588" y="1655572"/>
                  </a:lnTo>
                  <a:lnTo>
                    <a:pt x="239179" y="1648460"/>
                  </a:lnTo>
                  <a:lnTo>
                    <a:pt x="239179" y="1641983"/>
                  </a:lnTo>
                  <a:lnTo>
                    <a:pt x="267601" y="1641983"/>
                  </a:lnTo>
                  <a:lnTo>
                    <a:pt x="304076" y="1622386"/>
                  </a:lnTo>
                  <a:lnTo>
                    <a:pt x="310146" y="1607121"/>
                  </a:lnTo>
                  <a:lnTo>
                    <a:pt x="310896" y="1598676"/>
                  </a:lnTo>
                  <a:close/>
                </a:path>
                <a:path w="314325" h="2871470">
                  <a:moveTo>
                    <a:pt x="310896" y="1217676"/>
                  </a:moveTo>
                  <a:lnTo>
                    <a:pt x="291401" y="1181646"/>
                  </a:lnTo>
                  <a:lnTo>
                    <a:pt x="289572" y="1180617"/>
                  </a:lnTo>
                  <a:lnTo>
                    <a:pt x="289572" y="1211834"/>
                  </a:lnTo>
                  <a:lnTo>
                    <a:pt x="289572" y="1223518"/>
                  </a:lnTo>
                  <a:lnTo>
                    <a:pt x="287629" y="1228598"/>
                  </a:lnTo>
                  <a:lnTo>
                    <a:pt x="283108" y="1232535"/>
                  </a:lnTo>
                  <a:lnTo>
                    <a:pt x="278587" y="1237107"/>
                  </a:lnTo>
                  <a:lnTo>
                    <a:pt x="273418" y="1239012"/>
                  </a:lnTo>
                  <a:lnTo>
                    <a:pt x="212039" y="1239012"/>
                  </a:lnTo>
                  <a:lnTo>
                    <a:pt x="213969" y="1240917"/>
                  </a:lnTo>
                  <a:lnTo>
                    <a:pt x="215265" y="1243584"/>
                  </a:lnTo>
                  <a:lnTo>
                    <a:pt x="216560" y="1247394"/>
                  </a:lnTo>
                  <a:lnTo>
                    <a:pt x="217805" y="1253655"/>
                  </a:lnTo>
                  <a:lnTo>
                    <a:pt x="217855" y="1264285"/>
                  </a:lnTo>
                  <a:lnTo>
                    <a:pt x="215265" y="1270762"/>
                  </a:lnTo>
                  <a:lnTo>
                    <a:pt x="208800" y="1276604"/>
                  </a:lnTo>
                  <a:lnTo>
                    <a:pt x="211391" y="1280414"/>
                  </a:lnTo>
                  <a:lnTo>
                    <a:pt x="212039" y="1284351"/>
                  </a:lnTo>
                  <a:lnTo>
                    <a:pt x="212039" y="1292733"/>
                  </a:lnTo>
                  <a:lnTo>
                    <a:pt x="211391" y="1296670"/>
                  </a:lnTo>
                  <a:lnTo>
                    <a:pt x="209448" y="1300480"/>
                  </a:lnTo>
                  <a:lnTo>
                    <a:pt x="207518" y="1305052"/>
                  </a:lnTo>
                  <a:lnTo>
                    <a:pt x="204279" y="1307719"/>
                  </a:lnTo>
                  <a:lnTo>
                    <a:pt x="201053" y="1309624"/>
                  </a:lnTo>
                  <a:lnTo>
                    <a:pt x="202349" y="1316101"/>
                  </a:lnTo>
                  <a:lnTo>
                    <a:pt x="170040" y="1347228"/>
                  </a:lnTo>
                  <a:lnTo>
                    <a:pt x="163106" y="1346860"/>
                  </a:lnTo>
                  <a:lnTo>
                    <a:pt x="155816" y="1345806"/>
                  </a:lnTo>
                  <a:lnTo>
                    <a:pt x="148031" y="1344168"/>
                  </a:lnTo>
                  <a:lnTo>
                    <a:pt x="139661" y="1342009"/>
                  </a:lnTo>
                  <a:lnTo>
                    <a:pt x="131521" y="1339176"/>
                  </a:lnTo>
                  <a:lnTo>
                    <a:pt x="115481" y="1333804"/>
                  </a:lnTo>
                  <a:lnTo>
                    <a:pt x="78930" y="1325753"/>
                  </a:lnTo>
                  <a:lnTo>
                    <a:pt x="73761" y="1325753"/>
                  </a:lnTo>
                  <a:lnTo>
                    <a:pt x="73761" y="1303782"/>
                  </a:lnTo>
                  <a:lnTo>
                    <a:pt x="73761" y="1217676"/>
                  </a:lnTo>
                  <a:lnTo>
                    <a:pt x="78930" y="1217676"/>
                  </a:lnTo>
                  <a:lnTo>
                    <a:pt x="85115" y="1217066"/>
                  </a:lnTo>
                  <a:lnTo>
                    <a:pt x="119634" y="1189736"/>
                  </a:lnTo>
                  <a:lnTo>
                    <a:pt x="125552" y="1183208"/>
                  </a:lnTo>
                  <a:lnTo>
                    <a:pt x="130695" y="1177086"/>
                  </a:lnTo>
                  <a:lnTo>
                    <a:pt x="134988" y="1171333"/>
                  </a:lnTo>
                  <a:lnTo>
                    <a:pt x="138379" y="1165860"/>
                  </a:lnTo>
                  <a:lnTo>
                    <a:pt x="140296" y="1163193"/>
                  </a:lnTo>
                  <a:lnTo>
                    <a:pt x="142252" y="1159383"/>
                  </a:lnTo>
                  <a:lnTo>
                    <a:pt x="144830" y="1154811"/>
                  </a:lnTo>
                  <a:lnTo>
                    <a:pt x="150063" y="1144206"/>
                  </a:lnTo>
                  <a:lnTo>
                    <a:pt x="154279" y="1136713"/>
                  </a:lnTo>
                  <a:lnTo>
                    <a:pt x="157632" y="1132281"/>
                  </a:lnTo>
                  <a:lnTo>
                    <a:pt x="160337" y="1130808"/>
                  </a:lnTo>
                  <a:lnTo>
                    <a:pt x="168097" y="1130808"/>
                  </a:lnTo>
                  <a:lnTo>
                    <a:pt x="174561" y="1132840"/>
                  </a:lnTo>
                  <a:lnTo>
                    <a:pt x="179730" y="1136015"/>
                  </a:lnTo>
                  <a:lnTo>
                    <a:pt x="184251" y="1139952"/>
                  </a:lnTo>
                  <a:lnTo>
                    <a:pt x="186829" y="1145032"/>
                  </a:lnTo>
                  <a:lnTo>
                    <a:pt x="186829" y="1157351"/>
                  </a:lnTo>
                  <a:lnTo>
                    <a:pt x="186194" y="1162558"/>
                  </a:lnTo>
                  <a:lnTo>
                    <a:pt x="184251" y="1167130"/>
                  </a:lnTo>
                  <a:lnTo>
                    <a:pt x="182956" y="1171702"/>
                  </a:lnTo>
                  <a:lnTo>
                    <a:pt x="181025" y="1175512"/>
                  </a:lnTo>
                  <a:lnTo>
                    <a:pt x="179082" y="1178179"/>
                  </a:lnTo>
                  <a:lnTo>
                    <a:pt x="177139" y="1181354"/>
                  </a:lnTo>
                  <a:lnTo>
                    <a:pt x="175209" y="1184656"/>
                  </a:lnTo>
                  <a:lnTo>
                    <a:pt x="173266" y="1187831"/>
                  </a:lnTo>
                  <a:lnTo>
                    <a:pt x="171970" y="1191133"/>
                  </a:lnTo>
                  <a:lnTo>
                    <a:pt x="170675" y="1193673"/>
                  </a:lnTo>
                  <a:lnTo>
                    <a:pt x="170675" y="1195578"/>
                  </a:lnTo>
                  <a:lnTo>
                    <a:pt x="273418" y="1195578"/>
                  </a:lnTo>
                  <a:lnTo>
                    <a:pt x="278587" y="1198245"/>
                  </a:lnTo>
                  <a:lnTo>
                    <a:pt x="283108" y="1202690"/>
                  </a:lnTo>
                  <a:lnTo>
                    <a:pt x="286994" y="1206627"/>
                  </a:lnTo>
                  <a:lnTo>
                    <a:pt x="289572" y="1211834"/>
                  </a:lnTo>
                  <a:lnTo>
                    <a:pt x="289572" y="1180617"/>
                  </a:lnTo>
                  <a:lnTo>
                    <a:pt x="284238" y="1177582"/>
                  </a:lnTo>
                  <a:lnTo>
                    <a:pt x="276339" y="1175092"/>
                  </a:lnTo>
                  <a:lnTo>
                    <a:pt x="267601" y="1174242"/>
                  </a:lnTo>
                  <a:lnTo>
                    <a:pt x="204927" y="1174242"/>
                  </a:lnTo>
                  <a:lnTo>
                    <a:pt x="207518" y="1167765"/>
                  </a:lnTo>
                  <a:lnTo>
                    <a:pt x="208800" y="1160653"/>
                  </a:lnTo>
                  <a:lnTo>
                    <a:pt x="208673" y="1151509"/>
                  </a:lnTo>
                  <a:lnTo>
                    <a:pt x="207937" y="1143203"/>
                  </a:lnTo>
                  <a:lnTo>
                    <a:pt x="179158" y="1112329"/>
                  </a:lnTo>
                  <a:lnTo>
                    <a:pt x="160337" y="1109472"/>
                  </a:lnTo>
                  <a:lnTo>
                    <a:pt x="155816" y="1109472"/>
                  </a:lnTo>
                  <a:lnTo>
                    <a:pt x="132562" y="1131443"/>
                  </a:lnTo>
                  <a:lnTo>
                    <a:pt x="130619" y="1134745"/>
                  </a:lnTo>
                  <a:lnTo>
                    <a:pt x="128041" y="1139317"/>
                  </a:lnTo>
                  <a:lnTo>
                    <a:pt x="126098" y="1143762"/>
                  </a:lnTo>
                  <a:lnTo>
                    <a:pt x="123507" y="1148334"/>
                  </a:lnTo>
                  <a:lnTo>
                    <a:pt x="122224" y="1151509"/>
                  </a:lnTo>
                  <a:lnTo>
                    <a:pt x="120281" y="1154176"/>
                  </a:lnTo>
                  <a:lnTo>
                    <a:pt x="117106" y="1158887"/>
                  </a:lnTo>
                  <a:lnTo>
                    <a:pt x="113334" y="1164132"/>
                  </a:lnTo>
                  <a:lnTo>
                    <a:pt x="108826" y="1169733"/>
                  </a:lnTo>
                  <a:lnTo>
                    <a:pt x="103479" y="1175512"/>
                  </a:lnTo>
                  <a:lnTo>
                    <a:pt x="103479" y="1176147"/>
                  </a:lnTo>
                  <a:lnTo>
                    <a:pt x="102831" y="1176782"/>
                  </a:lnTo>
                  <a:lnTo>
                    <a:pt x="101549" y="1178814"/>
                  </a:lnTo>
                  <a:lnTo>
                    <a:pt x="97015" y="1183259"/>
                  </a:lnTo>
                  <a:lnTo>
                    <a:pt x="96380" y="1184656"/>
                  </a:lnTo>
                  <a:lnTo>
                    <a:pt x="94437" y="1185926"/>
                  </a:lnTo>
                  <a:lnTo>
                    <a:pt x="93141" y="1187831"/>
                  </a:lnTo>
                  <a:lnTo>
                    <a:pt x="91846" y="1188466"/>
                  </a:lnTo>
                  <a:lnTo>
                    <a:pt x="90563" y="1189736"/>
                  </a:lnTo>
                  <a:lnTo>
                    <a:pt x="89268" y="1190371"/>
                  </a:lnTo>
                  <a:lnTo>
                    <a:pt x="87972" y="1191768"/>
                  </a:lnTo>
                  <a:lnTo>
                    <a:pt x="86677" y="1193038"/>
                  </a:lnTo>
                  <a:lnTo>
                    <a:pt x="85394" y="1193673"/>
                  </a:lnTo>
                  <a:lnTo>
                    <a:pt x="84099" y="1194943"/>
                  </a:lnTo>
                  <a:lnTo>
                    <a:pt x="82804" y="1194943"/>
                  </a:lnTo>
                  <a:lnTo>
                    <a:pt x="81508" y="1195578"/>
                  </a:lnTo>
                  <a:lnTo>
                    <a:pt x="52438" y="1195578"/>
                  </a:lnTo>
                  <a:lnTo>
                    <a:pt x="52438" y="1312164"/>
                  </a:lnTo>
                  <a:lnTo>
                    <a:pt x="52438" y="1318006"/>
                  </a:lnTo>
                  <a:lnTo>
                    <a:pt x="51142" y="1319911"/>
                  </a:lnTo>
                  <a:lnTo>
                    <a:pt x="49199" y="1322578"/>
                  </a:lnTo>
                  <a:lnTo>
                    <a:pt x="46621" y="1324483"/>
                  </a:lnTo>
                  <a:lnTo>
                    <a:pt x="44678" y="1325753"/>
                  </a:lnTo>
                  <a:lnTo>
                    <a:pt x="38862" y="1325753"/>
                  </a:lnTo>
                  <a:lnTo>
                    <a:pt x="36283" y="1324483"/>
                  </a:lnTo>
                  <a:lnTo>
                    <a:pt x="33693" y="1322578"/>
                  </a:lnTo>
                  <a:lnTo>
                    <a:pt x="31762" y="1319911"/>
                  </a:lnTo>
                  <a:lnTo>
                    <a:pt x="30467" y="1318006"/>
                  </a:lnTo>
                  <a:lnTo>
                    <a:pt x="30467" y="1312164"/>
                  </a:lnTo>
                  <a:lnTo>
                    <a:pt x="31762" y="1309624"/>
                  </a:lnTo>
                  <a:lnTo>
                    <a:pt x="33693" y="1306957"/>
                  </a:lnTo>
                  <a:lnTo>
                    <a:pt x="36283" y="1305052"/>
                  </a:lnTo>
                  <a:lnTo>
                    <a:pt x="38862" y="1303782"/>
                  </a:lnTo>
                  <a:lnTo>
                    <a:pt x="44678" y="1303782"/>
                  </a:lnTo>
                  <a:lnTo>
                    <a:pt x="46621" y="1305052"/>
                  </a:lnTo>
                  <a:lnTo>
                    <a:pt x="49199" y="1306957"/>
                  </a:lnTo>
                  <a:lnTo>
                    <a:pt x="51142" y="1309624"/>
                  </a:lnTo>
                  <a:lnTo>
                    <a:pt x="52438" y="1312164"/>
                  </a:lnTo>
                  <a:lnTo>
                    <a:pt x="52438" y="1195578"/>
                  </a:lnTo>
                  <a:lnTo>
                    <a:pt x="24650" y="1195578"/>
                  </a:lnTo>
                  <a:lnTo>
                    <a:pt x="19481" y="1198245"/>
                  </a:lnTo>
                  <a:lnTo>
                    <a:pt x="15608" y="1202055"/>
                  </a:lnTo>
                  <a:lnTo>
                    <a:pt x="11087" y="1206627"/>
                  </a:lnTo>
                  <a:lnTo>
                    <a:pt x="9144" y="1211834"/>
                  </a:lnTo>
                  <a:lnTo>
                    <a:pt x="9144" y="1331595"/>
                  </a:lnTo>
                  <a:lnTo>
                    <a:pt x="11087" y="1336802"/>
                  </a:lnTo>
                  <a:lnTo>
                    <a:pt x="15608" y="1340739"/>
                  </a:lnTo>
                  <a:lnTo>
                    <a:pt x="19481" y="1345184"/>
                  </a:lnTo>
                  <a:lnTo>
                    <a:pt x="24650" y="1347228"/>
                  </a:lnTo>
                  <a:lnTo>
                    <a:pt x="78930" y="1347228"/>
                  </a:lnTo>
                  <a:lnTo>
                    <a:pt x="85242" y="1347825"/>
                  </a:lnTo>
                  <a:lnTo>
                    <a:pt x="93624" y="1349616"/>
                  </a:lnTo>
                  <a:lnTo>
                    <a:pt x="104178" y="1352638"/>
                  </a:lnTo>
                  <a:lnTo>
                    <a:pt x="132067" y="1361973"/>
                  </a:lnTo>
                  <a:lnTo>
                    <a:pt x="146126" y="1365618"/>
                  </a:lnTo>
                  <a:lnTo>
                    <a:pt x="159207" y="1367828"/>
                  </a:lnTo>
                  <a:lnTo>
                    <a:pt x="171323" y="1368552"/>
                  </a:lnTo>
                  <a:lnTo>
                    <a:pt x="182448" y="1367701"/>
                  </a:lnTo>
                  <a:lnTo>
                    <a:pt x="215747" y="1347533"/>
                  </a:lnTo>
                  <a:lnTo>
                    <a:pt x="223659" y="1318006"/>
                  </a:lnTo>
                  <a:lnTo>
                    <a:pt x="228003" y="1311363"/>
                  </a:lnTo>
                  <a:lnTo>
                    <a:pt x="231254" y="1304099"/>
                  </a:lnTo>
                  <a:lnTo>
                    <a:pt x="233299" y="1296365"/>
                  </a:lnTo>
                  <a:lnTo>
                    <a:pt x="234010" y="1288288"/>
                  </a:lnTo>
                  <a:lnTo>
                    <a:pt x="234010" y="1285621"/>
                  </a:lnTo>
                  <a:lnTo>
                    <a:pt x="233362" y="1283081"/>
                  </a:lnTo>
                  <a:lnTo>
                    <a:pt x="233362" y="1281049"/>
                  </a:lnTo>
                  <a:lnTo>
                    <a:pt x="236588" y="1274572"/>
                  </a:lnTo>
                  <a:lnTo>
                    <a:pt x="239179" y="1267460"/>
                  </a:lnTo>
                  <a:lnTo>
                    <a:pt x="239179" y="1260983"/>
                  </a:lnTo>
                  <a:lnTo>
                    <a:pt x="267601" y="1260983"/>
                  </a:lnTo>
                  <a:lnTo>
                    <a:pt x="304076" y="1241386"/>
                  </a:lnTo>
                  <a:lnTo>
                    <a:pt x="310146" y="1226121"/>
                  </a:lnTo>
                  <a:lnTo>
                    <a:pt x="310896" y="1217676"/>
                  </a:lnTo>
                  <a:close/>
                </a:path>
                <a:path w="314325" h="2871470">
                  <a:moveTo>
                    <a:pt x="310896" y="108204"/>
                  </a:moveTo>
                  <a:lnTo>
                    <a:pt x="291401" y="72174"/>
                  </a:lnTo>
                  <a:lnTo>
                    <a:pt x="289572" y="71145"/>
                  </a:lnTo>
                  <a:lnTo>
                    <a:pt x="289572" y="102362"/>
                  </a:lnTo>
                  <a:lnTo>
                    <a:pt x="289572" y="114046"/>
                  </a:lnTo>
                  <a:lnTo>
                    <a:pt x="287629" y="119126"/>
                  </a:lnTo>
                  <a:lnTo>
                    <a:pt x="283108" y="123063"/>
                  </a:lnTo>
                  <a:lnTo>
                    <a:pt x="278587" y="127635"/>
                  </a:lnTo>
                  <a:lnTo>
                    <a:pt x="273418" y="129540"/>
                  </a:lnTo>
                  <a:lnTo>
                    <a:pt x="212039" y="129540"/>
                  </a:lnTo>
                  <a:lnTo>
                    <a:pt x="213969" y="131445"/>
                  </a:lnTo>
                  <a:lnTo>
                    <a:pt x="215265" y="134112"/>
                  </a:lnTo>
                  <a:lnTo>
                    <a:pt x="216560" y="137922"/>
                  </a:lnTo>
                  <a:lnTo>
                    <a:pt x="217805" y="144183"/>
                  </a:lnTo>
                  <a:lnTo>
                    <a:pt x="217855" y="154813"/>
                  </a:lnTo>
                  <a:lnTo>
                    <a:pt x="215265" y="161290"/>
                  </a:lnTo>
                  <a:lnTo>
                    <a:pt x="208800" y="167132"/>
                  </a:lnTo>
                  <a:lnTo>
                    <a:pt x="211391" y="170942"/>
                  </a:lnTo>
                  <a:lnTo>
                    <a:pt x="212039" y="174879"/>
                  </a:lnTo>
                  <a:lnTo>
                    <a:pt x="212039" y="183261"/>
                  </a:lnTo>
                  <a:lnTo>
                    <a:pt x="211391" y="187198"/>
                  </a:lnTo>
                  <a:lnTo>
                    <a:pt x="209448" y="191008"/>
                  </a:lnTo>
                  <a:lnTo>
                    <a:pt x="207518" y="195580"/>
                  </a:lnTo>
                  <a:lnTo>
                    <a:pt x="204279" y="198247"/>
                  </a:lnTo>
                  <a:lnTo>
                    <a:pt x="201053" y="200152"/>
                  </a:lnTo>
                  <a:lnTo>
                    <a:pt x="202349" y="206629"/>
                  </a:lnTo>
                  <a:lnTo>
                    <a:pt x="170040" y="237744"/>
                  </a:lnTo>
                  <a:lnTo>
                    <a:pt x="163106" y="237388"/>
                  </a:lnTo>
                  <a:lnTo>
                    <a:pt x="155816" y="236334"/>
                  </a:lnTo>
                  <a:lnTo>
                    <a:pt x="148031" y="234696"/>
                  </a:lnTo>
                  <a:lnTo>
                    <a:pt x="139661" y="232537"/>
                  </a:lnTo>
                  <a:lnTo>
                    <a:pt x="131521" y="229704"/>
                  </a:lnTo>
                  <a:lnTo>
                    <a:pt x="115481" y="224332"/>
                  </a:lnTo>
                  <a:lnTo>
                    <a:pt x="78930" y="216281"/>
                  </a:lnTo>
                  <a:lnTo>
                    <a:pt x="73761" y="216281"/>
                  </a:lnTo>
                  <a:lnTo>
                    <a:pt x="73761" y="194310"/>
                  </a:lnTo>
                  <a:lnTo>
                    <a:pt x="73761" y="108204"/>
                  </a:lnTo>
                  <a:lnTo>
                    <a:pt x="78930" y="108204"/>
                  </a:lnTo>
                  <a:lnTo>
                    <a:pt x="85115" y="107594"/>
                  </a:lnTo>
                  <a:lnTo>
                    <a:pt x="119634" y="80264"/>
                  </a:lnTo>
                  <a:lnTo>
                    <a:pt x="125552" y="73736"/>
                  </a:lnTo>
                  <a:lnTo>
                    <a:pt x="130695" y="67614"/>
                  </a:lnTo>
                  <a:lnTo>
                    <a:pt x="134988" y="61861"/>
                  </a:lnTo>
                  <a:lnTo>
                    <a:pt x="138379" y="56388"/>
                  </a:lnTo>
                  <a:lnTo>
                    <a:pt x="140296" y="53721"/>
                  </a:lnTo>
                  <a:lnTo>
                    <a:pt x="142252" y="49911"/>
                  </a:lnTo>
                  <a:lnTo>
                    <a:pt x="144830" y="45339"/>
                  </a:lnTo>
                  <a:lnTo>
                    <a:pt x="150063" y="34734"/>
                  </a:lnTo>
                  <a:lnTo>
                    <a:pt x="154279" y="27241"/>
                  </a:lnTo>
                  <a:lnTo>
                    <a:pt x="157632" y="22809"/>
                  </a:lnTo>
                  <a:lnTo>
                    <a:pt x="160337" y="21336"/>
                  </a:lnTo>
                  <a:lnTo>
                    <a:pt x="168097" y="21336"/>
                  </a:lnTo>
                  <a:lnTo>
                    <a:pt x="174561" y="23368"/>
                  </a:lnTo>
                  <a:lnTo>
                    <a:pt x="179730" y="26543"/>
                  </a:lnTo>
                  <a:lnTo>
                    <a:pt x="184251" y="30480"/>
                  </a:lnTo>
                  <a:lnTo>
                    <a:pt x="186829" y="35560"/>
                  </a:lnTo>
                  <a:lnTo>
                    <a:pt x="186829" y="47879"/>
                  </a:lnTo>
                  <a:lnTo>
                    <a:pt x="186194" y="53086"/>
                  </a:lnTo>
                  <a:lnTo>
                    <a:pt x="184251" y="57658"/>
                  </a:lnTo>
                  <a:lnTo>
                    <a:pt x="182956" y="62230"/>
                  </a:lnTo>
                  <a:lnTo>
                    <a:pt x="181025" y="66040"/>
                  </a:lnTo>
                  <a:lnTo>
                    <a:pt x="179082" y="68707"/>
                  </a:lnTo>
                  <a:lnTo>
                    <a:pt x="177139" y="71882"/>
                  </a:lnTo>
                  <a:lnTo>
                    <a:pt x="175209" y="75184"/>
                  </a:lnTo>
                  <a:lnTo>
                    <a:pt x="173266" y="78359"/>
                  </a:lnTo>
                  <a:lnTo>
                    <a:pt x="171970" y="81661"/>
                  </a:lnTo>
                  <a:lnTo>
                    <a:pt x="170675" y="84201"/>
                  </a:lnTo>
                  <a:lnTo>
                    <a:pt x="170675" y="86106"/>
                  </a:lnTo>
                  <a:lnTo>
                    <a:pt x="273418" y="86106"/>
                  </a:lnTo>
                  <a:lnTo>
                    <a:pt x="278587" y="88773"/>
                  </a:lnTo>
                  <a:lnTo>
                    <a:pt x="283108" y="93218"/>
                  </a:lnTo>
                  <a:lnTo>
                    <a:pt x="286994" y="97155"/>
                  </a:lnTo>
                  <a:lnTo>
                    <a:pt x="289572" y="102362"/>
                  </a:lnTo>
                  <a:lnTo>
                    <a:pt x="289572" y="71145"/>
                  </a:lnTo>
                  <a:lnTo>
                    <a:pt x="284238" y="68110"/>
                  </a:lnTo>
                  <a:lnTo>
                    <a:pt x="276339" y="65620"/>
                  </a:lnTo>
                  <a:lnTo>
                    <a:pt x="267601" y="64770"/>
                  </a:lnTo>
                  <a:lnTo>
                    <a:pt x="204927" y="64770"/>
                  </a:lnTo>
                  <a:lnTo>
                    <a:pt x="207518" y="58293"/>
                  </a:lnTo>
                  <a:lnTo>
                    <a:pt x="208800" y="51181"/>
                  </a:lnTo>
                  <a:lnTo>
                    <a:pt x="208673" y="42037"/>
                  </a:lnTo>
                  <a:lnTo>
                    <a:pt x="207937" y="33731"/>
                  </a:lnTo>
                  <a:lnTo>
                    <a:pt x="179158" y="2857"/>
                  </a:lnTo>
                  <a:lnTo>
                    <a:pt x="160337" y="0"/>
                  </a:lnTo>
                  <a:lnTo>
                    <a:pt x="155816" y="0"/>
                  </a:lnTo>
                  <a:lnTo>
                    <a:pt x="132562" y="21971"/>
                  </a:lnTo>
                  <a:lnTo>
                    <a:pt x="130619" y="25273"/>
                  </a:lnTo>
                  <a:lnTo>
                    <a:pt x="128041" y="29845"/>
                  </a:lnTo>
                  <a:lnTo>
                    <a:pt x="126098" y="34290"/>
                  </a:lnTo>
                  <a:lnTo>
                    <a:pt x="123507" y="38862"/>
                  </a:lnTo>
                  <a:lnTo>
                    <a:pt x="122224" y="42037"/>
                  </a:lnTo>
                  <a:lnTo>
                    <a:pt x="120281" y="44704"/>
                  </a:lnTo>
                  <a:lnTo>
                    <a:pt x="117106" y="49415"/>
                  </a:lnTo>
                  <a:lnTo>
                    <a:pt x="113334" y="54660"/>
                  </a:lnTo>
                  <a:lnTo>
                    <a:pt x="108826" y="60261"/>
                  </a:lnTo>
                  <a:lnTo>
                    <a:pt x="103479" y="66040"/>
                  </a:lnTo>
                  <a:lnTo>
                    <a:pt x="103479" y="66675"/>
                  </a:lnTo>
                  <a:lnTo>
                    <a:pt x="102831" y="67310"/>
                  </a:lnTo>
                  <a:lnTo>
                    <a:pt x="101549" y="69342"/>
                  </a:lnTo>
                  <a:lnTo>
                    <a:pt x="97015" y="73787"/>
                  </a:lnTo>
                  <a:lnTo>
                    <a:pt x="96380" y="75184"/>
                  </a:lnTo>
                  <a:lnTo>
                    <a:pt x="94437" y="76454"/>
                  </a:lnTo>
                  <a:lnTo>
                    <a:pt x="93141" y="78359"/>
                  </a:lnTo>
                  <a:lnTo>
                    <a:pt x="91846" y="78994"/>
                  </a:lnTo>
                  <a:lnTo>
                    <a:pt x="90563" y="80264"/>
                  </a:lnTo>
                  <a:lnTo>
                    <a:pt x="89268" y="80899"/>
                  </a:lnTo>
                  <a:lnTo>
                    <a:pt x="87972" y="82296"/>
                  </a:lnTo>
                  <a:lnTo>
                    <a:pt x="86677" y="83566"/>
                  </a:lnTo>
                  <a:lnTo>
                    <a:pt x="85394" y="84201"/>
                  </a:lnTo>
                  <a:lnTo>
                    <a:pt x="84099" y="85471"/>
                  </a:lnTo>
                  <a:lnTo>
                    <a:pt x="82804" y="85471"/>
                  </a:lnTo>
                  <a:lnTo>
                    <a:pt x="81508" y="86106"/>
                  </a:lnTo>
                  <a:lnTo>
                    <a:pt x="52438" y="86106"/>
                  </a:lnTo>
                  <a:lnTo>
                    <a:pt x="52438" y="202692"/>
                  </a:lnTo>
                  <a:lnTo>
                    <a:pt x="52438" y="208534"/>
                  </a:lnTo>
                  <a:lnTo>
                    <a:pt x="51142" y="210439"/>
                  </a:lnTo>
                  <a:lnTo>
                    <a:pt x="49199" y="213106"/>
                  </a:lnTo>
                  <a:lnTo>
                    <a:pt x="46621" y="215011"/>
                  </a:lnTo>
                  <a:lnTo>
                    <a:pt x="44678" y="216281"/>
                  </a:lnTo>
                  <a:lnTo>
                    <a:pt x="38862" y="216281"/>
                  </a:lnTo>
                  <a:lnTo>
                    <a:pt x="36283" y="215011"/>
                  </a:lnTo>
                  <a:lnTo>
                    <a:pt x="33693" y="213106"/>
                  </a:lnTo>
                  <a:lnTo>
                    <a:pt x="31762" y="210439"/>
                  </a:lnTo>
                  <a:lnTo>
                    <a:pt x="30467" y="208534"/>
                  </a:lnTo>
                  <a:lnTo>
                    <a:pt x="30467" y="202692"/>
                  </a:lnTo>
                  <a:lnTo>
                    <a:pt x="31762" y="200152"/>
                  </a:lnTo>
                  <a:lnTo>
                    <a:pt x="33693" y="197485"/>
                  </a:lnTo>
                  <a:lnTo>
                    <a:pt x="36283" y="195580"/>
                  </a:lnTo>
                  <a:lnTo>
                    <a:pt x="38862" y="194310"/>
                  </a:lnTo>
                  <a:lnTo>
                    <a:pt x="44678" y="194310"/>
                  </a:lnTo>
                  <a:lnTo>
                    <a:pt x="46621" y="195580"/>
                  </a:lnTo>
                  <a:lnTo>
                    <a:pt x="49199" y="197485"/>
                  </a:lnTo>
                  <a:lnTo>
                    <a:pt x="51142" y="200152"/>
                  </a:lnTo>
                  <a:lnTo>
                    <a:pt x="52438" y="202692"/>
                  </a:lnTo>
                  <a:lnTo>
                    <a:pt x="52438" y="86106"/>
                  </a:lnTo>
                  <a:lnTo>
                    <a:pt x="24650" y="86106"/>
                  </a:lnTo>
                  <a:lnTo>
                    <a:pt x="19481" y="88773"/>
                  </a:lnTo>
                  <a:lnTo>
                    <a:pt x="15608" y="92583"/>
                  </a:lnTo>
                  <a:lnTo>
                    <a:pt x="11087" y="97155"/>
                  </a:lnTo>
                  <a:lnTo>
                    <a:pt x="9144" y="102362"/>
                  </a:lnTo>
                  <a:lnTo>
                    <a:pt x="9144" y="222123"/>
                  </a:lnTo>
                  <a:lnTo>
                    <a:pt x="11087" y="227330"/>
                  </a:lnTo>
                  <a:lnTo>
                    <a:pt x="15608" y="231267"/>
                  </a:lnTo>
                  <a:lnTo>
                    <a:pt x="19481" y="235712"/>
                  </a:lnTo>
                  <a:lnTo>
                    <a:pt x="24650" y="237744"/>
                  </a:lnTo>
                  <a:lnTo>
                    <a:pt x="78930" y="237744"/>
                  </a:lnTo>
                  <a:lnTo>
                    <a:pt x="85242" y="238353"/>
                  </a:lnTo>
                  <a:lnTo>
                    <a:pt x="93624" y="240144"/>
                  </a:lnTo>
                  <a:lnTo>
                    <a:pt x="104178" y="243166"/>
                  </a:lnTo>
                  <a:lnTo>
                    <a:pt x="132067" y="252501"/>
                  </a:lnTo>
                  <a:lnTo>
                    <a:pt x="146126" y="256146"/>
                  </a:lnTo>
                  <a:lnTo>
                    <a:pt x="159207" y="258356"/>
                  </a:lnTo>
                  <a:lnTo>
                    <a:pt x="171323" y="259080"/>
                  </a:lnTo>
                  <a:lnTo>
                    <a:pt x="182448" y="258229"/>
                  </a:lnTo>
                  <a:lnTo>
                    <a:pt x="215747" y="238061"/>
                  </a:lnTo>
                  <a:lnTo>
                    <a:pt x="223659" y="208534"/>
                  </a:lnTo>
                  <a:lnTo>
                    <a:pt x="228003" y="201891"/>
                  </a:lnTo>
                  <a:lnTo>
                    <a:pt x="231254" y="194627"/>
                  </a:lnTo>
                  <a:lnTo>
                    <a:pt x="233299" y="186893"/>
                  </a:lnTo>
                  <a:lnTo>
                    <a:pt x="234010" y="178816"/>
                  </a:lnTo>
                  <a:lnTo>
                    <a:pt x="234010" y="176149"/>
                  </a:lnTo>
                  <a:lnTo>
                    <a:pt x="233362" y="173609"/>
                  </a:lnTo>
                  <a:lnTo>
                    <a:pt x="233362" y="171577"/>
                  </a:lnTo>
                  <a:lnTo>
                    <a:pt x="236588" y="165100"/>
                  </a:lnTo>
                  <a:lnTo>
                    <a:pt x="239179" y="157988"/>
                  </a:lnTo>
                  <a:lnTo>
                    <a:pt x="239179" y="151511"/>
                  </a:lnTo>
                  <a:lnTo>
                    <a:pt x="267601" y="151511"/>
                  </a:lnTo>
                  <a:lnTo>
                    <a:pt x="304076" y="131914"/>
                  </a:lnTo>
                  <a:lnTo>
                    <a:pt x="310146" y="116649"/>
                  </a:lnTo>
                  <a:lnTo>
                    <a:pt x="310896" y="108204"/>
                  </a:lnTo>
                  <a:close/>
                </a:path>
                <a:path w="314325" h="2871470">
                  <a:moveTo>
                    <a:pt x="313944" y="2342350"/>
                  </a:moveTo>
                  <a:lnTo>
                    <a:pt x="294449" y="2306332"/>
                  </a:lnTo>
                  <a:lnTo>
                    <a:pt x="292620" y="2305304"/>
                  </a:lnTo>
                  <a:lnTo>
                    <a:pt x="292620" y="2336520"/>
                  </a:lnTo>
                  <a:lnTo>
                    <a:pt x="292620" y="2348179"/>
                  </a:lnTo>
                  <a:lnTo>
                    <a:pt x="290677" y="2353360"/>
                  </a:lnTo>
                  <a:lnTo>
                    <a:pt x="286156" y="2357247"/>
                  </a:lnTo>
                  <a:lnTo>
                    <a:pt x="281635" y="2361781"/>
                  </a:lnTo>
                  <a:lnTo>
                    <a:pt x="276466" y="2363724"/>
                  </a:lnTo>
                  <a:lnTo>
                    <a:pt x="215087" y="2363724"/>
                  </a:lnTo>
                  <a:lnTo>
                    <a:pt x="217017" y="2365667"/>
                  </a:lnTo>
                  <a:lnTo>
                    <a:pt x="218313" y="2368258"/>
                  </a:lnTo>
                  <a:lnTo>
                    <a:pt x="219608" y="2372144"/>
                  </a:lnTo>
                  <a:lnTo>
                    <a:pt x="220853" y="2378379"/>
                  </a:lnTo>
                  <a:lnTo>
                    <a:pt x="220903" y="2388984"/>
                  </a:lnTo>
                  <a:lnTo>
                    <a:pt x="218313" y="2395461"/>
                  </a:lnTo>
                  <a:lnTo>
                    <a:pt x="211848" y="2401290"/>
                  </a:lnTo>
                  <a:lnTo>
                    <a:pt x="214439" y="2405176"/>
                  </a:lnTo>
                  <a:lnTo>
                    <a:pt x="215087" y="2409063"/>
                  </a:lnTo>
                  <a:lnTo>
                    <a:pt x="215087" y="2417483"/>
                  </a:lnTo>
                  <a:lnTo>
                    <a:pt x="214439" y="2421369"/>
                  </a:lnTo>
                  <a:lnTo>
                    <a:pt x="212496" y="2425255"/>
                  </a:lnTo>
                  <a:lnTo>
                    <a:pt x="210566" y="2429789"/>
                  </a:lnTo>
                  <a:lnTo>
                    <a:pt x="207327" y="2432380"/>
                  </a:lnTo>
                  <a:lnTo>
                    <a:pt x="204101" y="2434323"/>
                  </a:lnTo>
                  <a:lnTo>
                    <a:pt x="205397" y="2440800"/>
                  </a:lnTo>
                  <a:lnTo>
                    <a:pt x="173088" y="2471890"/>
                  </a:lnTo>
                  <a:lnTo>
                    <a:pt x="166154" y="2471547"/>
                  </a:lnTo>
                  <a:lnTo>
                    <a:pt x="158864" y="2470518"/>
                  </a:lnTo>
                  <a:lnTo>
                    <a:pt x="151079" y="2468892"/>
                  </a:lnTo>
                  <a:lnTo>
                    <a:pt x="142709" y="2466708"/>
                  </a:lnTo>
                  <a:lnTo>
                    <a:pt x="110401" y="2455697"/>
                  </a:lnTo>
                  <a:lnTo>
                    <a:pt x="102501" y="2453259"/>
                  </a:lnTo>
                  <a:lnTo>
                    <a:pt x="95211" y="2451658"/>
                  </a:lnTo>
                  <a:lnTo>
                    <a:pt x="88417" y="2450782"/>
                  </a:lnTo>
                  <a:lnTo>
                    <a:pt x="81978" y="2450515"/>
                  </a:lnTo>
                  <a:lnTo>
                    <a:pt x="76809" y="2450515"/>
                  </a:lnTo>
                  <a:lnTo>
                    <a:pt x="76809" y="2428494"/>
                  </a:lnTo>
                  <a:lnTo>
                    <a:pt x="76809" y="2342350"/>
                  </a:lnTo>
                  <a:lnTo>
                    <a:pt x="81978" y="2342350"/>
                  </a:lnTo>
                  <a:lnTo>
                    <a:pt x="88163" y="2341753"/>
                  </a:lnTo>
                  <a:lnTo>
                    <a:pt x="122682" y="2314498"/>
                  </a:lnTo>
                  <a:lnTo>
                    <a:pt x="128600" y="2307933"/>
                  </a:lnTo>
                  <a:lnTo>
                    <a:pt x="133743" y="2301798"/>
                  </a:lnTo>
                  <a:lnTo>
                    <a:pt x="138036" y="2296020"/>
                  </a:lnTo>
                  <a:lnTo>
                    <a:pt x="141427" y="2290534"/>
                  </a:lnTo>
                  <a:lnTo>
                    <a:pt x="143357" y="2287943"/>
                  </a:lnTo>
                  <a:lnTo>
                    <a:pt x="145288" y="2284057"/>
                  </a:lnTo>
                  <a:lnTo>
                    <a:pt x="147878" y="2279523"/>
                  </a:lnTo>
                  <a:lnTo>
                    <a:pt x="153111" y="2268956"/>
                  </a:lnTo>
                  <a:lnTo>
                    <a:pt x="157327" y="2261476"/>
                  </a:lnTo>
                  <a:lnTo>
                    <a:pt x="160680" y="2257031"/>
                  </a:lnTo>
                  <a:lnTo>
                    <a:pt x="163385" y="2255558"/>
                  </a:lnTo>
                  <a:lnTo>
                    <a:pt x="171145" y="2255558"/>
                  </a:lnTo>
                  <a:lnTo>
                    <a:pt x="177609" y="2257501"/>
                  </a:lnTo>
                  <a:lnTo>
                    <a:pt x="182778" y="2260739"/>
                  </a:lnTo>
                  <a:lnTo>
                    <a:pt x="187299" y="2264626"/>
                  </a:lnTo>
                  <a:lnTo>
                    <a:pt x="189877" y="2269807"/>
                  </a:lnTo>
                  <a:lnTo>
                    <a:pt x="189877" y="2282113"/>
                  </a:lnTo>
                  <a:lnTo>
                    <a:pt x="189242" y="2287295"/>
                  </a:lnTo>
                  <a:lnTo>
                    <a:pt x="187299" y="2291829"/>
                  </a:lnTo>
                  <a:lnTo>
                    <a:pt x="186004" y="2296363"/>
                  </a:lnTo>
                  <a:lnTo>
                    <a:pt x="184073" y="2300249"/>
                  </a:lnTo>
                  <a:lnTo>
                    <a:pt x="182130" y="2302840"/>
                  </a:lnTo>
                  <a:lnTo>
                    <a:pt x="176314" y="2312555"/>
                  </a:lnTo>
                  <a:lnTo>
                    <a:pt x="175018" y="2315794"/>
                  </a:lnTo>
                  <a:lnTo>
                    <a:pt x="173723" y="2318385"/>
                  </a:lnTo>
                  <a:lnTo>
                    <a:pt x="173723" y="2320328"/>
                  </a:lnTo>
                  <a:lnTo>
                    <a:pt x="276466" y="2320328"/>
                  </a:lnTo>
                  <a:lnTo>
                    <a:pt x="281635" y="2322919"/>
                  </a:lnTo>
                  <a:lnTo>
                    <a:pt x="290042" y="2331339"/>
                  </a:lnTo>
                  <a:lnTo>
                    <a:pt x="292620" y="2336520"/>
                  </a:lnTo>
                  <a:lnTo>
                    <a:pt x="292620" y="2305304"/>
                  </a:lnTo>
                  <a:lnTo>
                    <a:pt x="287286" y="2302281"/>
                  </a:lnTo>
                  <a:lnTo>
                    <a:pt x="279387" y="2299805"/>
                  </a:lnTo>
                  <a:lnTo>
                    <a:pt x="270649" y="2298954"/>
                  </a:lnTo>
                  <a:lnTo>
                    <a:pt x="207975" y="2298954"/>
                  </a:lnTo>
                  <a:lnTo>
                    <a:pt x="210566" y="2292477"/>
                  </a:lnTo>
                  <a:lnTo>
                    <a:pt x="211848" y="2285352"/>
                  </a:lnTo>
                  <a:lnTo>
                    <a:pt x="211721" y="2276284"/>
                  </a:lnTo>
                  <a:lnTo>
                    <a:pt x="210985" y="2267877"/>
                  </a:lnTo>
                  <a:lnTo>
                    <a:pt x="182206" y="2237028"/>
                  </a:lnTo>
                  <a:lnTo>
                    <a:pt x="163385" y="2234184"/>
                  </a:lnTo>
                  <a:lnTo>
                    <a:pt x="158864" y="2234184"/>
                  </a:lnTo>
                  <a:lnTo>
                    <a:pt x="135610" y="2256205"/>
                  </a:lnTo>
                  <a:lnTo>
                    <a:pt x="133667" y="2259444"/>
                  </a:lnTo>
                  <a:lnTo>
                    <a:pt x="131089" y="2263978"/>
                  </a:lnTo>
                  <a:lnTo>
                    <a:pt x="129146" y="2268512"/>
                  </a:lnTo>
                  <a:lnTo>
                    <a:pt x="126555" y="2273046"/>
                  </a:lnTo>
                  <a:lnTo>
                    <a:pt x="125272" y="2276284"/>
                  </a:lnTo>
                  <a:lnTo>
                    <a:pt x="123329" y="2278875"/>
                  </a:lnTo>
                  <a:lnTo>
                    <a:pt x="120154" y="2283587"/>
                  </a:lnTo>
                  <a:lnTo>
                    <a:pt x="116382" y="2288844"/>
                  </a:lnTo>
                  <a:lnTo>
                    <a:pt x="111874" y="2294458"/>
                  </a:lnTo>
                  <a:lnTo>
                    <a:pt x="106527" y="2300249"/>
                  </a:lnTo>
                  <a:lnTo>
                    <a:pt x="106527" y="2300897"/>
                  </a:lnTo>
                  <a:lnTo>
                    <a:pt x="105879" y="2301544"/>
                  </a:lnTo>
                  <a:lnTo>
                    <a:pt x="104597" y="2303488"/>
                  </a:lnTo>
                  <a:lnTo>
                    <a:pt x="100063" y="2308021"/>
                  </a:lnTo>
                  <a:lnTo>
                    <a:pt x="99428" y="2309317"/>
                  </a:lnTo>
                  <a:lnTo>
                    <a:pt x="97485" y="2310612"/>
                  </a:lnTo>
                  <a:lnTo>
                    <a:pt x="96189" y="2312555"/>
                  </a:lnTo>
                  <a:lnTo>
                    <a:pt x="94894" y="2313203"/>
                  </a:lnTo>
                  <a:lnTo>
                    <a:pt x="93611" y="2314498"/>
                  </a:lnTo>
                  <a:lnTo>
                    <a:pt x="92316" y="2315146"/>
                  </a:lnTo>
                  <a:lnTo>
                    <a:pt x="89725" y="2317737"/>
                  </a:lnTo>
                  <a:lnTo>
                    <a:pt x="88442" y="2318385"/>
                  </a:lnTo>
                  <a:lnTo>
                    <a:pt x="87147" y="2319680"/>
                  </a:lnTo>
                  <a:lnTo>
                    <a:pt x="85852" y="2319680"/>
                  </a:lnTo>
                  <a:lnTo>
                    <a:pt x="84556" y="2320328"/>
                  </a:lnTo>
                  <a:lnTo>
                    <a:pt x="55486" y="2320328"/>
                  </a:lnTo>
                  <a:lnTo>
                    <a:pt x="55486" y="2436914"/>
                  </a:lnTo>
                  <a:lnTo>
                    <a:pt x="55486" y="2442743"/>
                  </a:lnTo>
                  <a:lnTo>
                    <a:pt x="54190" y="2444686"/>
                  </a:lnTo>
                  <a:lnTo>
                    <a:pt x="52247" y="2447277"/>
                  </a:lnTo>
                  <a:lnTo>
                    <a:pt x="49669" y="2449220"/>
                  </a:lnTo>
                  <a:lnTo>
                    <a:pt x="47726" y="2450515"/>
                  </a:lnTo>
                  <a:lnTo>
                    <a:pt x="41910" y="2450515"/>
                  </a:lnTo>
                  <a:lnTo>
                    <a:pt x="39331" y="2449220"/>
                  </a:lnTo>
                  <a:lnTo>
                    <a:pt x="36741" y="2447277"/>
                  </a:lnTo>
                  <a:lnTo>
                    <a:pt x="34810" y="2444686"/>
                  </a:lnTo>
                  <a:lnTo>
                    <a:pt x="33515" y="2442743"/>
                  </a:lnTo>
                  <a:lnTo>
                    <a:pt x="33515" y="2436914"/>
                  </a:lnTo>
                  <a:lnTo>
                    <a:pt x="34810" y="2434323"/>
                  </a:lnTo>
                  <a:lnTo>
                    <a:pt x="36741" y="2431732"/>
                  </a:lnTo>
                  <a:lnTo>
                    <a:pt x="39331" y="2429789"/>
                  </a:lnTo>
                  <a:lnTo>
                    <a:pt x="41910" y="2428494"/>
                  </a:lnTo>
                  <a:lnTo>
                    <a:pt x="47726" y="2428494"/>
                  </a:lnTo>
                  <a:lnTo>
                    <a:pt x="49669" y="2429789"/>
                  </a:lnTo>
                  <a:lnTo>
                    <a:pt x="52247" y="2431732"/>
                  </a:lnTo>
                  <a:lnTo>
                    <a:pt x="54190" y="2434323"/>
                  </a:lnTo>
                  <a:lnTo>
                    <a:pt x="55486" y="2436914"/>
                  </a:lnTo>
                  <a:lnTo>
                    <a:pt x="55486" y="2320328"/>
                  </a:lnTo>
                  <a:lnTo>
                    <a:pt x="27698" y="2320328"/>
                  </a:lnTo>
                  <a:lnTo>
                    <a:pt x="22529" y="2322919"/>
                  </a:lnTo>
                  <a:lnTo>
                    <a:pt x="14135" y="2331339"/>
                  </a:lnTo>
                  <a:lnTo>
                    <a:pt x="12192" y="2336520"/>
                  </a:lnTo>
                  <a:lnTo>
                    <a:pt x="12192" y="2456345"/>
                  </a:lnTo>
                  <a:lnTo>
                    <a:pt x="14135" y="2461526"/>
                  </a:lnTo>
                  <a:lnTo>
                    <a:pt x="18656" y="2465413"/>
                  </a:lnTo>
                  <a:lnTo>
                    <a:pt x="22529" y="2469946"/>
                  </a:lnTo>
                  <a:lnTo>
                    <a:pt x="27698" y="2471890"/>
                  </a:lnTo>
                  <a:lnTo>
                    <a:pt x="81978" y="2471890"/>
                  </a:lnTo>
                  <a:lnTo>
                    <a:pt x="88290" y="2472499"/>
                  </a:lnTo>
                  <a:lnTo>
                    <a:pt x="96672" y="2474328"/>
                  </a:lnTo>
                  <a:lnTo>
                    <a:pt x="107226" y="2477363"/>
                  </a:lnTo>
                  <a:lnTo>
                    <a:pt x="135115" y="2486710"/>
                  </a:lnTo>
                  <a:lnTo>
                    <a:pt x="149174" y="2490355"/>
                  </a:lnTo>
                  <a:lnTo>
                    <a:pt x="162255" y="2492540"/>
                  </a:lnTo>
                  <a:lnTo>
                    <a:pt x="174371" y="2493264"/>
                  </a:lnTo>
                  <a:lnTo>
                    <a:pt x="185496" y="2492425"/>
                  </a:lnTo>
                  <a:lnTo>
                    <a:pt x="218795" y="2472258"/>
                  </a:lnTo>
                  <a:lnTo>
                    <a:pt x="226707" y="2442743"/>
                  </a:lnTo>
                  <a:lnTo>
                    <a:pt x="231051" y="2436088"/>
                  </a:lnTo>
                  <a:lnTo>
                    <a:pt x="234302" y="2428824"/>
                  </a:lnTo>
                  <a:lnTo>
                    <a:pt x="236347" y="2421077"/>
                  </a:lnTo>
                  <a:lnTo>
                    <a:pt x="237058" y="2412949"/>
                  </a:lnTo>
                  <a:lnTo>
                    <a:pt x="237058" y="2410358"/>
                  </a:lnTo>
                  <a:lnTo>
                    <a:pt x="236410" y="2407767"/>
                  </a:lnTo>
                  <a:lnTo>
                    <a:pt x="236410" y="2405824"/>
                  </a:lnTo>
                  <a:lnTo>
                    <a:pt x="239636" y="2399347"/>
                  </a:lnTo>
                  <a:lnTo>
                    <a:pt x="242227" y="2392222"/>
                  </a:lnTo>
                  <a:lnTo>
                    <a:pt x="242227" y="2385745"/>
                  </a:lnTo>
                  <a:lnTo>
                    <a:pt x="270649" y="2385745"/>
                  </a:lnTo>
                  <a:lnTo>
                    <a:pt x="307124" y="2366124"/>
                  </a:lnTo>
                  <a:lnTo>
                    <a:pt x="313207" y="2350846"/>
                  </a:lnTo>
                  <a:lnTo>
                    <a:pt x="313944" y="2342350"/>
                  </a:lnTo>
                  <a:close/>
                </a:path>
              </a:pathLst>
            </a:custGeom>
            <a:solidFill>
              <a:srgbClr val="2E5496"/>
            </a:solidFill>
          </p:spPr>
          <p:txBody>
            <a:bodyPr wrap="square" lIns="0" tIns="0" rIns="0" bIns="0" rtlCol="0"/>
            <a:lstStyle/>
            <a:p>
              <a:endParaRPr/>
            </a:p>
          </p:txBody>
        </p:sp>
        <p:pic>
          <p:nvPicPr>
            <p:cNvPr id="22" name="object 22"/>
            <p:cNvPicPr/>
            <p:nvPr/>
          </p:nvPicPr>
          <p:blipFill>
            <a:blip r:embed="rId10" cstate="screen">
              <a:extLst>
                <a:ext uri="{28A0092B-C50C-407E-A947-70E740481C1C}">
                  <a14:useLocalDpi xmlns:a14="http://schemas.microsoft.com/office/drawing/2010/main"/>
                </a:ext>
              </a:extLst>
            </a:blip>
            <a:stretch>
              <a:fillRect/>
            </a:stretch>
          </p:blipFill>
          <p:spPr>
            <a:xfrm>
              <a:off x="675741" y="1312545"/>
              <a:ext cx="183184" cy="165353"/>
            </a:xfrm>
            <a:prstGeom prst="rect">
              <a:avLst/>
            </a:prstGeom>
          </p:spPr>
        </p:pic>
        <p:sp>
          <p:nvSpPr>
            <p:cNvPr id="23" name="object 23"/>
            <p:cNvSpPr/>
            <p:nvPr/>
          </p:nvSpPr>
          <p:spPr>
            <a:xfrm>
              <a:off x="668146" y="1219581"/>
              <a:ext cx="662305" cy="158115"/>
            </a:xfrm>
            <a:custGeom>
              <a:avLst/>
              <a:gdLst/>
              <a:ahLst/>
              <a:cxnLst/>
              <a:rect l="l" t="t" r="r" b="b"/>
              <a:pathLst>
                <a:path w="662305" h="158115">
                  <a:moveTo>
                    <a:pt x="294144" y="0"/>
                  </a:moveTo>
                  <a:lnTo>
                    <a:pt x="0" y="157988"/>
                  </a:lnTo>
                  <a:lnTo>
                    <a:pt x="661797" y="94107"/>
                  </a:lnTo>
                  <a:lnTo>
                    <a:pt x="294144" y="0"/>
                  </a:lnTo>
                  <a:close/>
                </a:path>
              </a:pathLst>
            </a:custGeom>
            <a:solidFill>
              <a:srgbClr val="44536A"/>
            </a:solidFill>
          </p:spPr>
          <p:txBody>
            <a:bodyPr wrap="square" lIns="0" tIns="0" rIns="0" bIns="0" rtlCol="0"/>
            <a:lstStyle/>
            <a:p>
              <a:endParaRPr/>
            </a:p>
          </p:txBody>
        </p:sp>
        <p:sp>
          <p:nvSpPr>
            <p:cNvPr id="24" name="object 24"/>
            <p:cNvSpPr/>
            <p:nvPr/>
          </p:nvSpPr>
          <p:spPr>
            <a:xfrm>
              <a:off x="803770" y="1227201"/>
              <a:ext cx="526415" cy="86360"/>
            </a:xfrm>
            <a:custGeom>
              <a:avLst/>
              <a:gdLst/>
              <a:ahLst/>
              <a:cxnLst/>
              <a:rect l="l" t="t" r="r" b="b"/>
              <a:pathLst>
                <a:path w="526415" h="86359">
                  <a:moveTo>
                    <a:pt x="139242" y="0"/>
                  </a:moveTo>
                  <a:lnTo>
                    <a:pt x="0" y="78994"/>
                  </a:lnTo>
                  <a:lnTo>
                    <a:pt x="525792" y="85851"/>
                  </a:lnTo>
                  <a:lnTo>
                    <a:pt x="139242" y="0"/>
                  </a:lnTo>
                  <a:close/>
                </a:path>
              </a:pathLst>
            </a:custGeom>
            <a:solidFill>
              <a:srgbClr val="212A35"/>
            </a:solidFill>
          </p:spPr>
          <p:txBody>
            <a:bodyPr wrap="square" lIns="0" tIns="0" rIns="0" bIns="0" rtlCol="0"/>
            <a:lstStyle/>
            <a:p>
              <a:endParaRPr/>
            </a:p>
          </p:txBody>
        </p:sp>
        <p:sp>
          <p:nvSpPr>
            <p:cNvPr id="25" name="object 25"/>
            <p:cNvSpPr/>
            <p:nvPr/>
          </p:nvSpPr>
          <p:spPr>
            <a:xfrm>
              <a:off x="133210" y="1109853"/>
              <a:ext cx="1314450" cy="203200"/>
            </a:xfrm>
            <a:custGeom>
              <a:avLst/>
              <a:gdLst/>
              <a:ahLst/>
              <a:cxnLst/>
              <a:rect l="l" t="t" r="r" b="b"/>
              <a:pathLst>
                <a:path w="1314450" h="203200">
                  <a:moveTo>
                    <a:pt x="1313827" y="0"/>
                  </a:moveTo>
                  <a:lnTo>
                    <a:pt x="0" y="53467"/>
                  </a:lnTo>
                  <a:lnTo>
                    <a:pt x="1196098" y="202692"/>
                  </a:lnTo>
                  <a:lnTo>
                    <a:pt x="1313827" y="0"/>
                  </a:lnTo>
                  <a:close/>
                </a:path>
              </a:pathLst>
            </a:custGeom>
            <a:solidFill>
              <a:srgbClr val="44536A"/>
            </a:solidFill>
          </p:spPr>
          <p:txBody>
            <a:bodyPr wrap="square" lIns="0" tIns="0" rIns="0" bIns="0" rtlCol="0"/>
            <a:lstStyle/>
            <a:p>
              <a:endParaRPr/>
            </a:p>
          </p:txBody>
        </p:sp>
        <p:sp>
          <p:nvSpPr>
            <p:cNvPr id="26" name="object 26"/>
            <p:cNvSpPr/>
            <p:nvPr/>
          </p:nvSpPr>
          <p:spPr>
            <a:xfrm>
              <a:off x="133210" y="1140333"/>
              <a:ext cx="1299210" cy="79375"/>
            </a:xfrm>
            <a:custGeom>
              <a:avLst/>
              <a:gdLst/>
              <a:ahLst/>
              <a:cxnLst/>
              <a:rect l="l" t="t" r="r" b="b"/>
              <a:pathLst>
                <a:path w="1299210" h="79375">
                  <a:moveTo>
                    <a:pt x="1298841" y="0"/>
                  </a:moveTo>
                  <a:lnTo>
                    <a:pt x="0" y="22987"/>
                  </a:lnTo>
                  <a:lnTo>
                    <a:pt x="1251724" y="78993"/>
                  </a:lnTo>
                  <a:lnTo>
                    <a:pt x="1298841" y="0"/>
                  </a:lnTo>
                  <a:close/>
                </a:path>
              </a:pathLst>
            </a:custGeom>
            <a:solidFill>
              <a:srgbClr val="212A35"/>
            </a:solidFill>
          </p:spPr>
          <p:txBody>
            <a:bodyPr wrap="square" lIns="0" tIns="0" rIns="0" bIns="0" rtlCol="0"/>
            <a:lstStyle/>
            <a:p>
              <a:endParaRPr/>
            </a:p>
          </p:txBody>
        </p:sp>
        <p:sp>
          <p:nvSpPr>
            <p:cNvPr id="27" name="object 27"/>
            <p:cNvSpPr/>
            <p:nvPr/>
          </p:nvSpPr>
          <p:spPr>
            <a:xfrm>
              <a:off x="132587" y="787908"/>
              <a:ext cx="1793875" cy="387350"/>
            </a:xfrm>
            <a:custGeom>
              <a:avLst/>
              <a:gdLst/>
              <a:ahLst/>
              <a:cxnLst/>
              <a:rect l="l" t="t" r="r" b="b"/>
              <a:pathLst>
                <a:path w="1793875" h="387350">
                  <a:moveTo>
                    <a:pt x="1746504" y="0"/>
                  </a:moveTo>
                  <a:lnTo>
                    <a:pt x="62382" y="64642"/>
                  </a:lnTo>
                  <a:lnTo>
                    <a:pt x="0" y="374903"/>
                  </a:lnTo>
                  <a:lnTo>
                    <a:pt x="1793748" y="387095"/>
                  </a:lnTo>
                  <a:lnTo>
                    <a:pt x="1746504" y="0"/>
                  </a:lnTo>
                  <a:close/>
                </a:path>
              </a:pathLst>
            </a:custGeom>
            <a:solidFill>
              <a:srgbClr val="44536A"/>
            </a:solidFill>
          </p:spPr>
          <p:txBody>
            <a:bodyPr wrap="square" lIns="0" tIns="0" rIns="0" bIns="0" rtlCol="0"/>
            <a:lstStyle/>
            <a:p>
              <a:endParaRPr/>
            </a:p>
          </p:txBody>
        </p:sp>
        <p:pic>
          <p:nvPicPr>
            <p:cNvPr id="28" name="object 28"/>
            <p:cNvPicPr/>
            <p:nvPr/>
          </p:nvPicPr>
          <p:blipFill>
            <a:blip r:embed="rId11" cstate="screen">
              <a:extLst>
                <a:ext uri="{28A0092B-C50C-407E-A947-70E740481C1C}">
                  <a14:useLocalDpi xmlns:a14="http://schemas.microsoft.com/office/drawing/2010/main"/>
                </a:ext>
              </a:extLst>
            </a:blip>
            <a:stretch>
              <a:fillRect/>
            </a:stretch>
          </p:blipFill>
          <p:spPr>
            <a:xfrm>
              <a:off x="686447" y="3636644"/>
              <a:ext cx="184632" cy="165354"/>
            </a:xfrm>
            <a:prstGeom prst="rect">
              <a:avLst/>
            </a:prstGeom>
          </p:spPr>
        </p:pic>
        <p:sp>
          <p:nvSpPr>
            <p:cNvPr id="29" name="object 29"/>
            <p:cNvSpPr/>
            <p:nvPr/>
          </p:nvSpPr>
          <p:spPr>
            <a:xfrm>
              <a:off x="680326" y="3543681"/>
              <a:ext cx="660400" cy="158115"/>
            </a:xfrm>
            <a:custGeom>
              <a:avLst/>
              <a:gdLst/>
              <a:ahLst/>
              <a:cxnLst/>
              <a:rect l="l" t="t" r="r" b="b"/>
              <a:pathLst>
                <a:path w="660400" h="158114">
                  <a:moveTo>
                    <a:pt x="293471" y="0"/>
                  </a:moveTo>
                  <a:lnTo>
                    <a:pt x="0" y="157988"/>
                  </a:lnTo>
                  <a:lnTo>
                    <a:pt x="660285" y="94107"/>
                  </a:lnTo>
                  <a:lnTo>
                    <a:pt x="293471" y="0"/>
                  </a:lnTo>
                  <a:close/>
                </a:path>
              </a:pathLst>
            </a:custGeom>
            <a:solidFill>
              <a:srgbClr val="2E5496"/>
            </a:solidFill>
          </p:spPr>
          <p:txBody>
            <a:bodyPr wrap="square" lIns="0" tIns="0" rIns="0" bIns="0" rtlCol="0"/>
            <a:lstStyle/>
            <a:p>
              <a:endParaRPr/>
            </a:p>
          </p:txBody>
        </p:sp>
        <p:sp>
          <p:nvSpPr>
            <p:cNvPr id="30" name="object 30"/>
            <p:cNvSpPr/>
            <p:nvPr/>
          </p:nvSpPr>
          <p:spPr>
            <a:xfrm>
              <a:off x="814450" y="3551300"/>
              <a:ext cx="527685" cy="86360"/>
            </a:xfrm>
            <a:custGeom>
              <a:avLst/>
              <a:gdLst/>
              <a:ahLst/>
              <a:cxnLst/>
              <a:rect l="l" t="t" r="r" b="b"/>
              <a:pathLst>
                <a:path w="527685" h="86360">
                  <a:moveTo>
                    <a:pt x="139636" y="0"/>
                  </a:moveTo>
                  <a:lnTo>
                    <a:pt x="0" y="78993"/>
                  </a:lnTo>
                  <a:lnTo>
                    <a:pt x="527304" y="85851"/>
                  </a:lnTo>
                  <a:lnTo>
                    <a:pt x="139636" y="0"/>
                  </a:lnTo>
                  <a:close/>
                </a:path>
              </a:pathLst>
            </a:custGeom>
            <a:solidFill>
              <a:srgbClr val="1F3863"/>
            </a:solidFill>
          </p:spPr>
          <p:txBody>
            <a:bodyPr wrap="square" lIns="0" tIns="0" rIns="0" bIns="0" rtlCol="0"/>
            <a:lstStyle/>
            <a:p>
              <a:endParaRPr/>
            </a:p>
          </p:txBody>
        </p:sp>
        <p:sp>
          <p:nvSpPr>
            <p:cNvPr id="31" name="object 31"/>
            <p:cNvSpPr/>
            <p:nvPr/>
          </p:nvSpPr>
          <p:spPr>
            <a:xfrm>
              <a:off x="143878" y="3432428"/>
              <a:ext cx="1315720" cy="204470"/>
            </a:xfrm>
            <a:custGeom>
              <a:avLst/>
              <a:gdLst/>
              <a:ahLst/>
              <a:cxnLst/>
              <a:rect l="l" t="t" r="r" b="b"/>
              <a:pathLst>
                <a:path w="1315720" h="204470">
                  <a:moveTo>
                    <a:pt x="1315351" y="0"/>
                  </a:moveTo>
                  <a:lnTo>
                    <a:pt x="0" y="53848"/>
                  </a:lnTo>
                  <a:lnTo>
                    <a:pt x="1197495" y="204216"/>
                  </a:lnTo>
                  <a:lnTo>
                    <a:pt x="1315351" y="0"/>
                  </a:lnTo>
                  <a:close/>
                </a:path>
              </a:pathLst>
            </a:custGeom>
            <a:solidFill>
              <a:srgbClr val="2E5496"/>
            </a:solidFill>
          </p:spPr>
          <p:txBody>
            <a:bodyPr wrap="square" lIns="0" tIns="0" rIns="0" bIns="0" rtlCol="0"/>
            <a:lstStyle/>
            <a:p>
              <a:endParaRPr/>
            </a:p>
          </p:txBody>
        </p:sp>
        <p:sp>
          <p:nvSpPr>
            <p:cNvPr id="32" name="object 32"/>
            <p:cNvSpPr/>
            <p:nvPr/>
          </p:nvSpPr>
          <p:spPr>
            <a:xfrm>
              <a:off x="143878" y="3464433"/>
              <a:ext cx="1299210" cy="79375"/>
            </a:xfrm>
            <a:custGeom>
              <a:avLst/>
              <a:gdLst/>
              <a:ahLst/>
              <a:cxnLst/>
              <a:rect l="l" t="t" r="r" b="b"/>
              <a:pathLst>
                <a:path w="1299210" h="79375">
                  <a:moveTo>
                    <a:pt x="1298841" y="0"/>
                  </a:moveTo>
                  <a:lnTo>
                    <a:pt x="0" y="22987"/>
                  </a:lnTo>
                  <a:lnTo>
                    <a:pt x="1251724" y="78993"/>
                  </a:lnTo>
                  <a:lnTo>
                    <a:pt x="1298841" y="0"/>
                  </a:lnTo>
                  <a:close/>
                </a:path>
              </a:pathLst>
            </a:custGeom>
            <a:solidFill>
              <a:srgbClr val="1F3863"/>
            </a:solidFill>
          </p:spPr>
          <p:txBody>
            <a:bodyPr wrap="square" lIns="0" tIns="0" rIns="0" bIns="0" rtlCol="0"/>
            <a:lstStyle/>
            <a:p>
              <a:endParaRPr/>
            </a:p>
          </p:txBody>
        </p:sp>
        <p:sp>
          <p:nvSpPr>
            <p:cNvPr id="33" name="object 33"/>
            <p:cNvSpPr/>
            <p:nvPr/>
          </p:nvSpPr>
          <p:spPr>
            <a:xfrm>
              <a:off x="143255" y="3112008"/>
              <a:ext cx="1795780" cy="387350"/>
            </a:xfrm>
            <a:custGeom>
              <a:avLst/>
              <a:gdLst/>
              <a:ahLst/>
              <a:cxnLst/>
              <a:rect l="l" t="t" r="r" b="b"/>
              <a:pathLst>
                <a:path w="1795780" h="387350">
                  <a:moveTo>
                    <a:pt x="1748027" y="0"/>
                  </a:moveTo>
                  <a:lnTo>
                    <a:pt x="62433" y="64642"/>
                  </a:lnTo>
                  <a:lnTo>
                    <a:pt x="0" y="374903"/>
                  </a:lnTo>
                  <a:lnTo>
                    <a:pt x="1795271" y="387095"/>
                  </a:lnTo>
                  <a:lnTo>
                    <a:pt x="1748027" y="0"/>
                  </a:lnTo>
                  <a:close/>
                </a:path>
              </a:pathLst>
            </a:custGeom>
            <a:solidFill>
              <a:srgbClr val="2E5496"/>
            </a:solidFill>
          </p:spPr>
          <p:txBody>
            <a:bodyPr wrap="square" lIns="0" tIns="0" rIns="0" bIns="0" rtlCol="0"/>
            <a:lstStyle/>
            <a:p>
              <a:endParaRPr/>
            </a:p>
          </p:txBody>
        </p:sp>
        <p:sp>
          <p:nvSpPr>
            <p:cNvPr id="34" name="object 34"/>
            <p:cNvSpPr/>
            <p:nvPr/>
          </p:nvSpPr>
          <p:spPr>
            <a:xfrm>
              <a:off x="688848" y="1530095"/>
              <a:ext cx="306705" cy="1376680"/>
            </a:xfrm>
            <a:custGeom>
              <a:avLst/>
              <a:gdLst/>
              <a:ahLst/>
              <a:cxnLst/>
              <a:rect l="l" t="t" r="r" b="b"/>
              <a:pathLst>
                <a:path w="306705" h="1376680">
                  <a:moveTo>
                    <a:pt x="301752" y="107569"/>
                  </a:moveTo>
                  <a:lnTo>
                    <a:pt x="282257" y="71678"/>
                  </a:lnTo>
                  <a:lnTo>
                    <a:pt x="280428" y="70662"/>
                  </a:lnTo>
                  <a:lnTo>
                    <a:pt x="280428" y="101727"/>
                  </a:lnTo>
                  <a:lnTo>
                    <a:pt x="280428" y="113284"/>
                  </a:lnTo>
                  <a:lnTo>
                    <a:pt x="278485" y="118491"/>
                  </a:lnTo>
                  <a:lnTo>
                    <a:pt x="273964" y="122301"/>
                  </a:lnTo>
                  <a:lnTo>
                    <a:pt x="269443" y="126873"/>
                  </a:lnTo>
                  <a:lnTo>
                    <a:pt x="264274" y="128778"/>
                  </a:lnTo>
                  <a:lnTo>
                    <a:pt x="202895" y="128778"/>
                  </a:lnTo>
                  <a:lnTo>
                    <a:pt x="204825" y="130683"/>
                  </a:lnTo>
                  <a:lnTo>
                    <a:pt x="206121" y="133223"/>
                  </a:lnTo>
                  <a:lnTo>
                    <a:pt x="207416" y="137160"/>
                  </a:lnTo>
                  <a:lnTo>
                    <a:pt x="208648" y="143344"/>
                  </a:lnTo>
                  <a:lnTo>
                    <a:pt x="208711" y="153924"/>
                  </a:lnTo>
                  <a:lnTo>
                    <a:pt x="206121" y="160274"/>
                  </a:lnTo>
                  <a:lnTo>
                    <a:pt x="199656" y="166116"/>
                  </a:lnTo>
                  <a:lnTo>
                    <a:pt x="202247" y="169926"/>
                  </a:lnTo>
                  <a:lnTo>
                    <a:pt x="202895" y="173863"/>
                  </a:lnTo>
                  <a:lnTo>
                    <a:pt x="202895" y="182245"/>
                  </a:lnTo>
                  <a:lnTo>
                    <a:pt x="202247" y="186055"/>
                  </a:lnTo>
                  <a:lnTo>
                    <a:pt x="200304" y="189992"/>
                  </a:lnTo>
                  <a:lnTo>
                    <a:pt x="198374" y="194437"/>
                  </a:lnTo>
                  <a:lnTo>
                    <a:pt x="195135" y="196977"/>
                  </a:lnTo>
                  <a:lnTo>
                    <a:pt x="191909" y="199009"/>
                  </a:lnTo>
                  <a:lnTo>
                    <a:pt x="193205" y="205359"/>
                  </a:lnTo>
                  <a:lnTo>
                    <a:pt x="160896" y="236347"/>
                  </a:lnTo>
                  <a:lnTo>
                    <a:pt x="153962" y="235991"/>
                  </a:lnTo>
                  <a:lnTo>
                    <a:pt x="146672" y="234937"/>
                  </a:lnTo>
                  <a:lnTo>
                    <a:pt x="138887" y="233299"/>
                  </a:lnTo>
                  <a:lnTo>
                    <a:pt x="130505" y="231140"/>
                  </a:lnTo>
                  <a:lnTo>
                    <a:pt x="98209" y="220218"/>
                  </a:lnTo>
                  <a:lnTo>
                    <a:pt x="90309" y="217805"/>
                  </a:lnTo>
                  <a:lnTo>
                    <a:pt x="83019" y="216192"/>
                  </a:lnTo>
                  <a:lnTo>
                    <a:pt x="76225" y="215290"/>
                  </a:lnTo>
                  <a:lnTo>
                    <a:pt x="69786" y="215011"/>
                  </a:lnTo>
                  <a:lnTo>
                    <a:pt x="64617" y="215011"/>
                  </a:lnTo>
                  <a:lnTo>
                    <a:pt x="64617" y="193167"/>
                  </a:lnTo>
                  <a:lnTo>
                    <a:pt x="64617" y="107569"/>
                  </a:lnTo>
                  <a:lnTo>
                    <a:pt x="69786" y="107569"/>
                  </a:lnTo>
                  <a:lnTo>
                    <a:pt x="75971" y="106959"/>
                  </a:lnTo>
                  <a:lnTo>
                    <a:pt x="110490" y="79883"/>
                  </a:lnTo>
                  <a:lnTo>
                    <a:pt x="116408" y="73355"/>
                  </a:lnTo>
                  <a:lnTo>
                    <a:pt x="121551" y="67233"/>
                  </a:lnTo>
                  <a:lnTo>
                    <a:pt x="125844" y="61480"/>
                  </a:lnTo>
                  <a:lnTo>
                    <a:pt x="129235" y="56007"/>
                  </a:lnTo>
                  <a:lnTo>
                    <a:pt x="131165" y="53467"/>
                  </a:lnTo>
                  <a:lnTo>
                    <a:pt x="133108" y="49530"/>
                  </a:lnTo>
                  <a:lnTo>
                    <a:pt x="135686" y="45085"/>
                  </a:lnTo>
                  <a:lnTo>
                    <a:pt x="140919" y="34556"/>
                  </a:lnTo>
                  <a:lnTo>
                    <a:pt x="145135" y="27101"/>
                  </a:lnTo>
                  <a:lnTo>
                    <a:pt x="148488" y="22682"/>
                  </a:lnTo>
                  <a:lnTo>
                    <a:pt x="151193" y="21209"/>
                  </a:lnTo>
                  <a:lnTo>
                    <a:pt x="158953" y="21209"/>
                  </a:lnTo>
                  <a:lnTo>
                    <a:pt x="165417" y="23241"/>
                  </a:lnTo>
                  <a:lnTo>
                    <a:pt x="170586" y="26416"/>
                  </a:lnTo>
                  <a:lnTo>
                    <a:pt x="175107" y="30226"/>
                  </a:lnTo>
                  <a:lnTo>
                    <a:pt x="177685" y="35433"/>
                  </a:lnTo>
                  <a:lnTo>
                    <a:pt x="177685" y="47625"/>
                  </a:lnTo>
                  <a:lnTo>
                    <a:pt x="177050" y="52832"/>
                  </a:lnTo>
                  <a:lnTo>
                    <a:pt x="175107" y="57277"/>
                  </a:lnTo>
                  <a:lnTo>
                    <a:pt x="173812" y="61849"/>
                  </a:lnTo>
                  <a:lnTo>
                    <a:pt x="171881" y="65659"/>
                  </a:lnTo>
                  <a:lnTo>
                    <a:pt x="169938" y="68199"/>
                  </a:lnTo>
                  <a:lnTo>
                    <a:pt x="167881" y="71678"/>
                  </a:lnTo>
                  <a:lnTo>
                    <a:pt x="164122" y="77851"/>
                  </a:lnTo>
                  <a:lnTo>
                    <a:pt x="162826" y="81153"/>
                  </a:lnTo>
                  <a:lnTo>
                    <a:pt x="161531" y="83693"/>
                  </a:lnTo>
                  <a:lnTo>
                    <a:pt x="161531" y="85598"/>
                  </a:lnTo>
                  <a:lnTo>
                    <a:pt x="264274" y="85598"/>
                  </a:lnTo>
                  <a:lnTo>
                    <a:pt x="269443" y="88265"/>
                  </a:lnTo>
                  <a:lnTo>
                    <a:pt x="277850" y="96520"/>
                  </a:lnTo>
                  <a:lnTo>
                    <a:pt x="280428" y="101727"/>
                  </a:lnTo>
                  <a:lnTo>
                    <a:pt x="280428" y="70662"/>
                  </a:lnTo>
                  <a:lnTo>
                    <a:pt x="275094" y="67665"/>
                  </a:lnTo>
                  <a:lnTo>
                    <a:pt x="267195" y="65214"/>
                  </a:lnTo>
                  <a:lnTo>
                    <a:pt x="258457" y="64389"/>
                  </a:lnTo>
                  <a:lnTo>
                    <a:pt x="195783" y="64389"/>
                  </a:lnTo>
                  <a:lnTo>
                    <a:pt x="198374" y="57912"/>
                  </a:lnTo>
                  <a:lnTo>
                    <a:pt x="199656" y="50927"/>
                  </a:lnTo>
                  <a:lnTo>
                    <a:pt x="199542" y="41910"/>
                  </a:lnTo>
                  <a:lnTo>
                    <a:pt x="198793" y="33502"/>
                  </a:lnTo>
                  <a:lnTo>
                    <a:pt x="170014" y="2794"/>
                  </a:lnTo>
                  <a:lnTo>
                    <a:pt x="151193" y="0"/>
                  </a:lnTo>
                  <a:lnTo>
                    <a:pt x="146672" y="0"/>
                  </a:lnTo>
                  <a:lnTo>
                    <a:pt x="123418" y="21844"/>
                  </a:lnTo>
                  <a:lnTo>
                    <a:pt x="121475" y="25146"/>
                  </a:lnTo>
                  <a:lnTo>
                    <a:pt x="118897" y="29591"/>
                  </a:lnTo>
                  <a:lnTo>
                    <a:pt x="116954" y="34163"/>
                  </a:lnTo>
                  <a:lnTo>
                    <a:pt x="114363" y="38608"/>
                  </a:lnTo>
                  <a:lnTo>
                    <a:pt x="113080" y="41910"/>
                  </a:lnTo>
                  <a:lnTo>
                    <a:pt x="111137" y="44450"/>
                  </a:lnTo>
                  <a:lnTo>
                    <a:pt x="107962" y="49085"/>
                  </a:lnTo>
                  <a:lnTo>
                    <a:pt x="104190" y="54292"/>
                  </a:lnTo>
                  <a:lnTo>
                    <a:pt x="99682" y="59880"/>
                  </a:lnTo>
                  <a:lnTo>
                    <a:pt x="94335" y="65659"/>
                  </a:lnTo>
                  <a:lnTo>
                    <a:pt x="94335" y="66294"/>
                  </a:lnTo>
                  <a:lnTo>
                    <a:pt x="93687" y="66929"/>
                  </a:lnTo>
                  <a:lnTo>
                    <a:pt x="92405" y="68834"/>
                  </a:lnTo>
                  <a:lnTo>
                    <a:pt x="91109" y="70231"/>
                  </a:lnTo>
                  <a:lnTo>
                    <a:pt x="87871" y="73406"/>
                  </a:lnTo>
                  <a:lnTo>
                    <a:pt x="87236" y="74676"/>
                  </a:lnTo>
                  <a:lnTo>
                    <a:pt x="85293" y="75946"/>
                  </a:lnTo>
                  <a:lnTo>
                    <a:pt x="83997" y="77851"/>
                  </a:lnTo>
                  <a:lnTo>
                    <a:pt x="82702" y="78613"/>
                  </a:lnTo>
                  <a:lnTo>
                    <a:pt x="81419" y="79883"/>
                  </a:lnTo>
                  <a:lnTo>
                    <a:pt x="80124" y="80518"/>
                  </a:lnTo>
                  <a:lnTo>
                    <a:pt x="77533" y="83058"/>
                  </a:lnTo>
                  <a:lnTo>
                    <a:pt x="76250" y="83693"/>
                  </a:lnTo>
                  <a:lnTo>
                    <a:pt x="74955" y="84963"/>
                  </a:lnTo>
                  <a:lnTo>
                    <a:pt x="73660" y="84963"/>
                  </a:lnTo>
                  <a:lnTo>
                    <a:pt x="72364" y="85598"/>
                  </a:lnTo>
                  <a:lnTo>
                    <a:pt x="43294" y="85598"/>
                  </a:lnTo>
                  <a:lnTo>
                    <a:pt x="43294" y="201549"/>
                  </a:lnTo>
                  <a:lnTo>
                    <a:pt x="43294" y="207391"/>
                  </a:lnTo>
                  <a:lnTo>
                    <a:pt x="41998" y="209296"/>
                  </a:lnTo>
                  <a:lnTo>
                    <a:pt x="40055" y="211836"/>
                  </a:lnTo>
                  <a:lnTo>
                    <a:pt x="37477" y="213741"/>
                  </a:lnTo>
                  <a:lnTo>
                    <a:pt x="35534" y="215011"/>
                  </a:lnTo>
                  <a:lnTo>
                    <a:pt x="29718" y="215011"/>
                  </a:lnTo>
                  <a:lnTo>
                    <a:pt x="27139" y="213741"/>
                  </a:lnTo>
                  <a:lnTo>
                    <a:pt x="24549" y="211836"/>
                  </a:lnTo>
                  <a:lnTo>
                    <a:pt x="22618" y="209296"/>
                  </a:lnTo>
                  <a:lnTo>
                    <a:pt x="21323" y="207391"/>
                  </a:lnTo>
                  <a:lnTo>
                    <a:pt x="21323" y="201549"/>
                  </a:lnTo>
                  <a:lnTo>
                    <a:pt x="22618" y="199009"/>
                  </a:lnTo>
                  <a:lnTo>
                    <a:pt x="24549" y="196342"/>
                  </a:lnTo>
                  <a:lnTo>
                    <a:pt x="27139" y="194437"/>
                  </a:lnTo>
                  <a:lnTo>
                    <a:pt x="29718" y="193167"/>
                  </a:lnTo>
                  <a:lnTo>
                    <a:pt x="35534" y="193167"/>
                  </a:lnTo>
                  <a:lnTo>
                    <a:pt x="37477" y="194437"/>
                  </a:lnTo>
                  <a:lnTo>
                    <a:pt x="40055" y="196342"/>
                  </a:lnTo>
                  <a:lnTo>
                    <a:pt x="41998" y="199009"/>
                  </a:lnTo>
                  <a:lnTo>
                    <a:pt x="43294" y="201549"/>
                  </a:lnTo>
                  <a:lnTo>
                    <a:pt x="43294" y="85598"/>
                  </a:lnTo>
                  <a:lnTo>
                    <a:pt x="15506" y="85598"/>
                  </a:lnTo>
                  <a:lnTo>
                    <a:pt x="10337" y="88265"/>
                  </a:lnTo>
                  <a:lnTo>
                    <a:pt x="1943" y="96520"/>
                  </a:lnTo>
                  <a:lnTo>
                    <a:pt x="0" y="101727"/>
                  </a:lnTo>
                  <a:lnTo>
                    <a:pt x="0" y="220865"/>
                  </a:lnTo>
                  <a:lnTo>
                    <a:pt x="1943" y="226060"/>
                  </a:lnTo>
                  <a:lnTo>
                    <a:pt x="6464" y="229870"/>
                  </a:lnTo>
                  <a:lnTo>
                    <a:pt x="10337" y="234315"/>
                  </a:lnTo>
                  <a:lnTo>
                    <a:pt x="15506" y="236347"/>
                  </a:lnTo>
                  <a:lnTo>
                    <a:pt x="69786" y="236347"/>
                  </a:lnTo>
                  <a:lnTo>
                    <a:pt x="76098" y="236956"/>
                  </a:lnTo>
                  <a:lnTo>
                    <a:pt x="84480" y="238747"/>
                  </a:lnTo>
                  <a:lnTo>
                    <a:pt x="95034" y="241769"/>
                  </a:lnTo>
                  <a:lnTo>
                    <a:pt x="122923" y="251079"/>
                  </a:lnTo>
                  <a:lnTo>
                    <a:pt x="136982" y="254685"/>
                  </a:lnTo>
                  <a:lnTo>
                    <a:pt x="150063" y="256844"/>
                  </a:lnTo>
                  <a:lnTo>
                    <a:pt x="162179" y="257556"/>
                  </a:lnTo>
                  <a:lnTo>
                    <a:pt x="173304" y="256730"/>
                  </a:lnTo>
                  <a:lnTo>
                    <a:pt x="206603" y="236728"/>
                  </a:lnTo>
                  <a:lnTo>
                    <a:pt x="214515" y="207391"/>
                  </a:lnTo>
                  <a:lnTo>
                    <a:pt x="218859" y="200774"/>
                  </a:lnTo>
                  <a:lnTo>
                    <a:pt x="222110" y="193535"/>
                  </a:lnTo>
                  <a:lnTo>
                    <a:pt x="224155" y="185801"/>
                  </a:lnTo>
                  <a:lnTo>
                    <a:pt x="224866" y="177673"/>
                  </a:lnTo>
                  <a:lnTo>
                    <a:pt x="224866" y="175133"/>
                  </a:lnTo>
                  <a:lnTo>
                    <a:pt x="224218" y="172593"/>
                  </a:lnTo>
                  <a:lnTo>
                    <a:pt x="224218" y="170688"/>
                  </a:lnTo>
                  <a:lnTo>
                    <a:pt x="227444" y="164211"/>
                  </a:lnTo>
                  <a:lnTo>
                    <a:pt x="230035" y="157099"/>
                  </a:lnTo>
                  <a:lnTo>
                    <a:pt x="230035" y="150622"/>
                  </a:lnTo>
                  <a:lnTo>
                    <a:pt x="258457" y="150622"/>
                  </a:lnTo>
                  <a:lnTo>
                    <a:pt x="294932" y="131165"/>
                  </a:lnTo>
                  <a:lnTo>
                    <a:pt x="301015" y="115989"/>
                  </a:lnTo>
                  <a:lnTo>
                    <a:pt x="301752" y="107569"/>
                  </a:lnTo>
                  <a:close/>
                </a:path>
                <a:path w="306705" h="1376680">
                  <a:moveTo>
                    <a:pt x="306324" y="1226185"/>
                  </a:moveTo>
                  <a:lnTo>
                    <a:pt x="286829" y="1190294"/>
                  </a:lnTo>
                  <a:lnTo>
                    <a:pt x="285000" y="1189278"/>
                  </a:lnTo>
                  <a:lnTo>
                    <a:pt x="285000" y="1220343"/>
                  </a:lnTo>
                  <a:lnTo>
                    <a:pt x="285000" y="1231900"/>
                  </a:lnTo>
                  <a:lnTo>
                    <a:pt x="283057" y="1237107"/>
                  </a:lnTo>
                  <a:lnTo>
                    <a:pt x="278536" y="1240917"/>
                  </a:lnTo>
                  <a:lnTo>
                    <a:pt x="274015" y="1245489"/>
                  </a:lnTo>
                  <a:lnTo>
                    <a:pt x="268846" y="1247394"/>
                  </a:lnTo>
                  <a:lnTo>
                    <a:pt x="207467" y="1247394"/>
                  </a:lnTo>
                  <a:lnTo>
                    <a:pt x="209397" y="1249299"/>
                  </a:lnTo>
                  <a:lnTo>
                    <a:pt x="210693" y="1251839"/>
                  </a:lnTo>
                  <a:lnTo>
                    <a:pt x="211988" y="1255776"/>
                  </a:lnTo>
                  <a:lnTo>
                    <a:pt x="213220" y="1261960"/>
                  </a:lnTo>
                  <a:lnTo>
                    <a:pt x="213283" y="1272540"/>
                  </a:lnTo>
                  <a:lnTo>
                    <a:pt x="210693" y="1278890"/>
                  </a:lnTo>
                  <a:lnTo>
                    <a:pt x="204228" y="1284732"/>
                  </a:lnTo>
                  <a:lnTo>
                    <a:pt x="206819" y="1288542"/>
                  </a:lnTo>
                  <a:lnTo>
                    <a:pt x="207467" y="1292479"/>
                  </a:lnTo>
                  <a:lnTo>
                    <a:pt x="207467" y="1300861"/>
                  </a:lnTo>
                  <a:lnTo>
                    <a:pt x="206819" y="1304671"/>
                  </a:lnTo>
                  <a:lnTo>
                    <a:pt x="204876" y="1308608"/>
                  </a:lnTo>
                  <a:lnTo>
                    <a:pt x="202946" y="1313053"/>
                  </a:lnTo>
                  <a:lnTo>
                    <a:pt x="199707" y="1315593"/>
                  </a:lnTo>
                  <a:lnTo>
                    <a:pt x="196481" y="1317625"/>
                  </a:lnTo>
                  <a:lnTo>
                    <a:pt x="197777" y="1323975"/>
                  </a:lnTo>
                  <a:lnTo>
                    <a:pt x="165468" y="1354963"/>
                  </a:lnTo>
                  <a:lnTo>
                    <a:pt x="158534" y="1354607"/>
                  </a:lnTo>
                  <a:lnTo>
                    <a:pt x="151244" y="1353553"/>
                  </a:lnTo>
                  <a:lnTo>
                    <a:pt x="143459" y="1351915"/>
                  </a:lnTo>
                  <a:lnTo>
                    <a:pt x="135077" y="1349756"/>
                  </a:lnTo>
                  <a:lnTo>
                    <a:pt x="102781" y="1338834"/>
                  </a:lnTo>
                  <a:lnTo>
                    <a:pt x="94881" y="1336421"/>
                  </a:lnTo>
                  <a:lnTo>
                    <a:pt x="87591" y="1334808"/>
                  </a:lnTo>
                  <a:lnTo>
                    <a:pt x="80797" y="1333906"/>
                  </a:lnTo>
                  <a:lnTo>
                    <a:pt x="74358" y="1333627"/>
                  </a:lnTo>
                  <a:lnTo>
                    <a:pt x="69189" y="1333627"/>
                  </a:lnTo>
                  <a:lnTo>
                    <a:pt x="69189" y="1311783"/>
                  </a:lnTo>
                  <a:lnTo>
                    <a:pt x="69189" y="1226185"/>
                  </a:lnTo>
                  <a:lnTo>
                    <a:pt x="74358" y="1226185"/>
                  </a:lnTo>
                  <a:lnTo>
                    <a:pt x="80543" y="1225575"/>
                  </a:lnTo>
                  <a:lnTo>
                    <a:pt x="115062" y="1198499"/>
                  </a:lnTo>
                  <a:lnTo>
                    <a:pt x="120980" y="1191971"/>
                  </a:lnTo>
                  <a:lnTo>
                    <a:pt x="126123" y="1185849"/>
                  </a:lnTo>
                  <a:lnTo>
                    <a:pt x="130416" y="1180096"/>
                  </a:lnTo>
                  <a:lnTo>
                    <a:pt x="133794" y="1174623"/>
                  </a:lnTo>
                  <a:lnTo>
                    <a:pt x="135737" y="1172083"/>
                  </a:lnTo>
                  <a:lnTo>
                    <a:pt x="137680" y="1168146"/>
                  </a:lnTo>
                  <a:lnTo>
                    <a:pt x="140258" y="1163701"/>
                  </a:lnTo>
                  <a:lnTo>
                    <a:pt x="145491" y="1153172"/>
                  </a:lnTo>
                  <a:lnTo>
                    <a:pt x="149707" y="1145717"/>
                  </a:lnTo>
                  <a:lnTo>
                    <a:pt x="153060" y="1141298"/>
                  </a:lnTo>
                  <a:lnTo>
                    <a:pt x="155765" y="1139825"/>
                  </a:lnTo>
                  <a:lnTo>
                    <a:pt x="163525" y="1139825"/>
                  </a:lnTo>
                  <a:lnTo>
                    <a:pt x="169989" y="1141857"/>
                  </a:lnTo>
                  <a:lnTo>
                    <a:pt x="175158" y="1145032"/>
                  </a:lnTo>
                  <a:lnTo>
                    <a:pt x="179679" y="1148842"/>
                  </a:lnTo>
                  <a:lnTo>
                    <a:pt x="182257" y="1154049"/>
                  </a:lnTo>
                  <a:lnTo>
                    <a:pt x="182257" y="1166241"/>
                  </a:lnTo>
                  <a:lnTo>
                    <a:pt x="181622" y="1171448"/>
                  </a:lnTo>
                  <a:lnTo>
                    <a:pt x="179679" y="1175893"/>
                  </a:lnTo>
                  <a:lnTo>
                    <a:pt x="178384" y="1180465"/>
                  </a:lnTo>
                  <a:lnTo>
                    <a:pt x="176453" y="1184275"/>
                  </a:lnTo>
                  <a:lnTo>
                    <a:pt x="174510" y="1186815"/>
                  </a:lnTo>
                  <a:lnTo>
                    <a:pt x="172453" y="1190294"/>
                  </a:lnTo>
                  <a:lnTo>
                    <a:pt x="168694" y="1196467"/>
                  </a:lnTo>
                  <a:lnTo>
                    <a:pt x="167398" y="1199769"/>
                  </a:lnTo>
                  <a:lnTo>
                    <a:pt x="166103" y="1202309"/>
                  </a:lnTo>
                  <a:lnTo>
                    <a:pt x="166103" y="1204214"/>
                  </a:lnTo>
                  <a:lnTo>
                    <a:pt x="268846" y="1204214"/>
                  </a:lnTo>
                  <a:lnTo>
                    <a:pt x="274015" y="1206881"/>
                  </a:lnTo>
                  <a:lnTo>
                    <a:pt x="282422" y="1215136"/>
                  </a:lnTo>
                  <a:lnTo>
                    <a:pt x="285000" y="1220343"/>
                  </a:lnTo>
                  <a:lnTo>
                    <a:pt x="285000" y="1189278"/>
                  </a:lnTo>
                  <a:lnTo>
                    <a:pt x="279666" y="1186281"/>
                  </a:lnTo>
                  <a:lnTo>
                    <a:pt x="271767" y="1183830"/>
                  </a:lnTo>
                  <a:lnTo>
                    <a:pt x="263029" y="1183005"/>
                  </a:lnTo>
                  <a:lnTo>
                    <a:pt x="200355" y="1183005"/>
                  </a:lnTo>
                  <a:lnTo>
                    <a:pt x="202946" y="1176528"/>
                  </a:lnTo>
                  <a:lnTo>
                    <a:pt x="204228" y="1169543"/>
                  </a:lnTo>
                  <a:lnTo>
                    <a:pt x="204114" y="1160526"/>
                  </a:lnTo>
                  <a:lnTo>
                    <a:pt x="203365" y="1152118"/>
                  </a:lnTo>
                  <a:lnTo>
                    <a:pt x="174586" y="1121410"/>
                  </a:lnTo>
                  <a:lnTo>
                    <a:pt x="155765" y="1118616"/>
                  </a:lnTo>
                  <a:lnTo>
                    <a:pt x="151244" y="1118616"/>
                  </a:lnTo>
                  <a:lnTo>
                    <a:pt x="127990" y="1140460"/>
                  </a:lnTo>
                  <a:lnTo>
                    <a:pt x="126047" y="1143762"/>
                  </a:lnTo>
                  <a:lnTo>
                    <a:pt x="123469" y="1148207"/>
                  </a:lnTo>
                  <a:lnTo>
                    <a:pt x="121526" y="1152779"/>
                  </a:lnTo>
                  <a:lnTo>
                    <a:pt x="118935" y="1157224"/>
                  </a:lnTo>
                  <a:lnTo>
                    <a:pt x="117652" y="1160526"/>
                  </a:lnTo>
                  <a:lnTo>
                    <a:pt x="115709" y="1163066"/>
                  </a:lnTo>
                  <a:lnTo>
                    <a:pt x="112534" y="1167701"/>
                  </a:lnTo>
                  <a:lnTo>
                    <a:pt x="108762" y="1172921"/>
                  </a:lnTo>
                  <a:lnTo>
                    <a:pt x="104254" y="1178509"/>
                  </a:lnTo>
                  <a:lnTo>
                    <a:pt x="98907" y="1184275"/>
                  </a:lnTo>
                  <a:lnTo>
                    <a:pt x="98907" y="1184910"/>
                  </a:lnTo>
                  <a:lnTo>
                    <a:pt x="98259" y="1185545"/>
                  </a:lnTo>
                  <a:lnTo>
                    <a:pt x="96977" y="1187450"/>
                  </a:lnTo>
                  <a:lnTo>
                    <a:pt x="95681" y="1188847"/>
                  </a:lnTo>
                  <a:lnTo>
                    <a:pt x="92443" y="1192022"/>
                  </a:lnTo>
                  <a:lnTo>
                    <a:pt x="91808" y="1193292"/>
                  </a:lnTo>
                  <a:lnTo>
                    <a:pt x="89865" y="1194562"/>
                  </a:lnTo>
                  <a:lnTo>
                    <a:pt x="88569" y="1196467"/>
                  </a:lnTo>
                  <a:lnTo>
                    <a:pt x="87274" y="1197229"/>
                  </a:lnTo>
                  <a:lnTo>
                    <a:pt x="85991" y="1198499"/>
                  </a:lnTo>
                  <a:lnTo>
                    <a:pt x="84696" y="1199134"/>
                  </a:lnTo>
                  <a:lnTo>
                    <a:pt x="82105" y="1201674"/>
                  </a:lnTo>
                  <a:lnTo>
                    <a:pt x="80822" y="1202309"/>
                  </a:lnTo>
                  <a:lnTo>
                    <a:pt x="79527" y="1203579"/>
                  </a:lnTo>
                  <a:lnTo>
                    <a:pt x="78232" y="1203579"/>
                  </a:lnTo>
                  <a:lnTo>
                    <a:pt x="76936" y="1204214"/>
                  </a:lnTo>
                  <a:lnTo>
                    <a:pt x="47866" y="1204214"/>
                  </a:lnTo>
                  <a:lnTo>
                    <a:pt x="47866" y="1320165"/>
                  </a:lnTo>
                  <a:lnTo>
                    <a:pt x="47866" y="1326007"/>
                  </a:lnTo>
                  <a:lnTo>
                    <a:pt x="46570" y="1327912"/>
                  </a:lnTo>
                  <a:lnTo>
                    <a:pt x="44627" y="1330452"/>
                  </a:lnTo>
                  <a:lnTo>
                    <a:pt x="42049" y="1332357"/>
                  </a:lnTo>
                  <a:lnTo>
                    <a:pt x="40106" y="1333627"/>
                  </a:lnTo>
                  <a:lnTo>
                    <a:pt x="34290" y="1333627"/>
                  </a:lnTo>
                  <a:lnTo>
                    <a:pt x="31711" y="1332357"/>
                  </a:lnTo>
                  <a:lnTo>
                    <a:pt x="29121" y="1330452"/>
                  </a:lnTo>
                  <a:lnTo>
                    <a:pt x="27190" y="1327912"/>
                  </a:lnTo>
                  <a:lnTo>
                    <a:pt x="25895" y="1326007"/>
                  </a:lnTo>
                  <a:lnTo>
                    <a:pt x="25895" y="1320165"/>
                  </a:lnTo>
                  <a:lnTo>
                    <a:pt x="27190" y="1317625"/>
                  </a:lnTo>
                  <a:lnTo>
                    <a:pt x="29121" y="1314958"/>
                  </a:lnTo>
                  <a:lnTo>
                    <a:pt x="31711" y="1313053"/>
                  </a:lnTo>
                  <a:lnTo>
                    <a:pt x="34290" y="1311783"/>
                  </a:lnTo>
                  <a:lnTo>
                    <a:pt x="40106" y="1311783"/>
                  </a:lnTo>
                  <a:lnTo>
                    <a:pt x="42049" y="1313053"/>
                  </a:lnTo>
                  <a:lnTo>
                    <a:pt x="44627" y="1314958"/>
                  </a:lnTo>
                  <a:lnTo>
                    <a:pt x="46570" y="1317625"/>
                  </a:lnTo>
                  <a:lnTo>
                    <a:pt x="47866" y="1320165"/>
                  </a:lnTo>
                  <a:lnTo>
                    <a:pt x="47866" y="1204214"/>
                  </a:lnTo>
                  <a:lnTo>
                    <a:pt x="20078" y="1204214"/>
                  </a:lnTo>
                  <a:lnTo>
                    <a:pt x="14909" y="1206881"/>
                  </a:lnTo>
                  <a:lnTo>
                    <a:pt x="6515" y="1215136"/>
                  </a:lnTo>
                  <a:lnTo>
                    <a:pt x="4572" y="1220343"/>
                  </a:lnTo>
                  <a:lnTo>
                    <a:pt x="4572" y="1339481"/>
                  </a:lnTo>
                  <a:lnTo>
                    <a:pt x="6515" y="1344676"/>
                  </a:lnTo>
                  <a:lnTo>
                    <a:pt x="11036" y="1348486"/>
                  </a:lnTo>
                  <a:lnTo>
                    <a:pt x="14909" y="1352931"/>
                  </a:lnTo>
                  <a:lnTo>
                    <a:pt x="20078" y="1354963"/>
                  </a:lnTo>
                  <a:lnTo>
                    <a:pt x="74358" y="1354963"/>
                  </a:lnTo>
                  <a:lnTo>
                    <a:pt x="80670" y="1355572"/>
                  </a:lnTo>
                  <a:lnTo>
                    <a:pt x="89052" y="1357363"/>
                  </a:lnTo>
                  <a:lnTo>
                    <a:pt x="99606" y="1360385"/>
                  </a:lnTo>
                  <a:lnTo>
                    <a:pt x="127495" y="1369695"/>
                  </a:lnTo>
                  <a:lnTo>
                    <a:pt x="141554" y="1373301"/>
                  </a:lnTo>
                  <a:lnTo>
                    <a:pt x="154635" y="1375460"/>
                  </a:lnTo>
                  <a:lnTo>
                    <a:pt x="166751" y="1376172"/>
                  </a:lnTo>
                  <a:lnTo>
                    <a:pt x="177876" y="1375346"/>
                  </a:lnTo>
                  <a:lnTo>
                    <a:pt x="211175" y="1355344"/>
                  </a:lnTo>
                  <a:lnTo>
                    <a:pt x="219087" y="1326007"/>
                  </a:lnTo>
                  <a:lnTo>
                    <a:pt x="223431" y="1319390"/>
                  </a:lnTo>
                  <a:lnTo>
                    <a:pt x="226682" y="1312151"/>
                  </a:lnTo>
                  <a:lnTo>
                    <a:pt x="228727" y="1304417"/>
                  </a:lnTo>
                  <a:lnTo>
                    <a:pt x="229438" y="1296289"/>
                  </a:lnTo>
                  <a:lnTo>
                    <a:pt x="229438" y="1293749"/>
                  </a:lnTo>
                  <a:lnTo>
                    <a:pt x="228790" y="1291209"/>
                  </a:lnTo>
                  <a:lnTo>
                    <a:pt x="228790" y="1289304"/>
                  </a:lnTo>
                  <a:lnTo>
                    <a:pt x="232016" y="1282827"/>
                  </a:lnTo>
                  <a:lnTo>
                    <a:pt x="234607" y="1275715"/>
                  </a:lnTo>
                  <a:lnTo>
                    <a:pt x="234607" y="1269238"/>
                  </a:lnTo>
                  <a:lnTo>
                    <a:pt x="263029" y="1269238"/>
                  </a:lnTo>
                  <a:lnTo>
                    <a:pt x="299504" y="1249781"/>
                  </a:lnTo>
                  <a:lnTo>
                    <a:pt x="305574" y="1234605"/>
                  </a:lnTo>
                  <a:lnTo>
                    <a:pt x="306324" y="1226185"/>
                  </a:lnTo>
                  <a:close/>
                </a:path>
                <a:path w="306705" h="1376680">
                  <a:moveTo>
                    <a:pt x="306324" y="489204"/>
                  </a:moveTo>
                  <a:lnTo>
                    <a:pt x="286829" y="453174"/>
                  </a:lnTo>
                  <a:lnTo>
                    <a:pt x="285000" y="452145"/>
                  </a:lnTo>
                  <a:lnTo>
                    <a:pt x="285000" y="483362"/>
                  </a:lnTo>
                  <a:lnTo>
                    <a:pt x="285000" y="495046"/>
                  </a:lnTo>
                  <a:lnTo>
                    <a:pt x="283057" y="500126"/>
                  </a:lnTo>
                  <a:lnTo>
                    <a:pt x="278536" y="504063"/>
                  </a:lnTo>
                  <a:lnTo>
                    <a:pt x="274015" y="508635"/>
                  </a:lnTo>
                  <a:lnTo>
                    <a:pt x="268846" y="510540"/>
                  </a:lnTo>
                  <a:lnTo>
                    <a:pt x="207467" y="510540"/>
                  </a:lnTo>
                  <a:lnTo>
                    <a:pt x="209397" y="512445"/>
                  </a:lnTo>
                  <a:lnTo>
                    <a:pt x="210693" y="515112"/>
                  </a:lnTo>
                  <a:lnTo>
                    <a:pt x="211988" y="518922"/>
                  </a:lnTo>
                  <a:lnTo>
                    <a:pt x="213233" y="525183"/>
                  </a:lnTo>
                  <a:lnTo>
                    <a:pt x="213283" y="535813"/>
                  </a:lnTo>
                  <a:lnTo>
                    <a:pt x="210693" y="542290"/>
                  </a:lnTo>
                  <a:lnTo>
                    <a:pt x="204228" y="548132"/>
                  </a:lnTo>
                  <a:lnTo>
                    <a:pt x="206819" y="551942"/>
                  </a:lnTo>
                  <a:lnTo>
                    <a:pt x="207467" y="555879"/>
                  </a:lnTo>
                  <a:lnTo>
                    <a:pt x="207467" y="564261"/>
                  </a:lnTo>
                  <a:lnTo>
                    <a:pt x="206819" y="568198"/>
                  </a:lnTo>
                  <a:lnTo>
                    <a:pt x="204876" y="572008"/>
                  </a:lnTo>
                  <a:lnTo>
                    <a:pt x="202946" y="576580"/>
                  </a:lnTo>
                  <a:lnTo>
                    <a:pt x="199707" y="579247"/>
                  </a:lnTo>
                  <a:lnTo>
                    <a:pt x="196481" y="581152"/>
                  </a:lnTo>
                  <a:lnTo>
                    <a:pt x="197777" y="587629"/>
                  </a:lnTo>
                  <a:lnTo>
                    <a:pt x="165468" y="618744"/>
                  </a:lnTo>
                  <a:lnTo>
                    <a:pt x="158534" y="618388"/>
                  </a:lnTo>
                  <a:lnTo>
                    <a:pt x="151244" y="617334"/>
                  </a:lnTo>
                  <a:lnTo>
                    <a:pt x="143459" y="615696"/>
                  </a:lnTo>
                  <a:lnTo>
                    <a:pt x="135077" y="613537"/>
                  </a:lnTo>
                  <a:lnTo>
                    <a:pt x="126949" y="610704"/>
                  </a:lnTo>
                  <a:lnTo>
                    <a:pt x="110909" y="605332"/>
                  </a:lnTo>
                  <a:lnTo>
                    <a:pt x="74358" y="597281"/>
                  </a:lnTo>
                  <a:lnTo>
                    <a:pt x="69189" y="597281"/>
                  </a:lnTo>
                  <a:lnTo>
                    <a:pt x="69189" y="575310"/>
                  </a:lnTo>
                  <a:lnTo>
                    <a:pt x="69189" y="489204"/>
                  </a:lnTo>
                  <a:lnTo>
                    <a:pt x="74358" y="489204"/>
                  </a:lnTo>
                  <a:lnTo>
                    <a:pt x="80543" y="488594"/>
                  </a:lnTo>
                  <a:lnTo>
                    <a:pt x="115062" y="461264"/>
                  </a:lnTo>
                  <a:lnTo>
                    <a:pt x="120980" y="454736"/>
                  </a:lnTo>
                  <a:lnTo>
                    <a:pt x="126123" y="448614"/>
                  </a:lnTo>
                  <a:lnTo>
                    <a:pt x="130416" y="442861"/>
                  </a:lnTo>
                  <a:lnTo>
                    <a:pt x="133794" y="437388"/>
                  </a:lnTo>
                  <a:lnTo>
                    <a:pt x="135737" y="434721"/>
                  </a:lnTo>
                  <a:lnTo>
                    <a:pt x="137680" y="430911"/>
                  </a:lnTo>
                  <a:lnTo>
                    <a:pt x="140258" y="426339"/>
                  </a:lnTo>
                  <a:lnTo>
                    <a:pt x="145491" y="415734"/>
                  </a:lnTo>
                  <a:lnTo>
                    <a:pt x="149707" y="408254"/>
                  </a:lnTo>
                  <a:lnTo>
                    <a:pt x="153060" y="403809"/>
                  </a:lnTo>
                  <a:lnTo>
                    <a:pt x="155765" y="402336"/>
                  </a:lnTo>
                  <a:lnTo>
                    <a:pt x="163525" y="402336"/>
                  </a:lnTo>
                  <a:lnTo>
                    <a:pt x="169989" y="404368"/>
                  </a:lnTo>
                  <a:lnTo>
                    <a:pt x="175158" y="407543"/>
                  </a:lnTo>
                  <a:lnTo>
                    <a:pt x="179679" y="411480"/>
                  </a:lnTo>
                  <a:lnTo>
                    <a:pt x="182257" y="416560"/>
                  </a:lnTo>
                  <a:lnTo>
                    <a:pt x="182257" y="428879"/>
                  </a:lnTo>
                  <a:lnTo>
                    <a:pt x="181622" y="434086"/>
                  </a:lnTo>
                  <a:lnTo>
                    <a:pt x="179679" y="438658"/>
                  </a:lnTo>
                  <a:lnTo>
                    <a:pt x="178384" y="443230"/>
                  </a:lnTo>
                  <a:lnTo>
                    <a:pt x="176453" y="447040"/>
                  </a:lnTo>
                  <a:lnTo>
                    <a:pt x="174510" y="449707"/>
                  </a:lnTo>
                  <a:lnTo>
                    <a:pt x="172567" y="452882"/>
                  </a:lnTo>
                  <a:lnTo>
                    <a:pt x="170637" y="456184"/>
                  </a:lnTo>
                  <a:lnTo>
                    <a:pt x="168694" y="459359"/>
                  </a:lnTo>
                  <a:lnTo>
                    <a:pt x="167398" y="462661"/>
                  </a:lnTo>
                  <a:lnTo>
                    <a:pt x="166103" y="465201"/>
                  </a:lnTo>
                  <a:lnTo>
                    <a:pt x="166103" y="467106"/>
                  </a:lnTo>
                  <a:lnTo>
                    <a:pt x="268846" y="467106"/>
                  </a:lnTo>
                  <a:lnTo>
                    <a:pt x="274015" y="469773"/>
                  </a:lnTo>
                  <a:lnTo>
                    <a:pt x="278536" y="474218"/>
                  </a:lnTo>
                  <a:lnTo>
                    <a:pt x="282422" y="478155"/>
                  </a:lnTo>
                  <a:lnTo>
                    <a:pt x="285000" y="483362"/>
                  </a:lnTo>
                  <a:lnTo>
                    <a:pt x="285000" y="452145"/>
                  </a:lnTo>
                  <a:lnTo>
                    <a:pt x="279666" y="449110"/>
                  </a:lnTo>
                  <a:lnTo>
                    <a:pt x="271767" y="446620"/>
                  </a:lnTo>
                  <a:lnTo>
                    <a:pt x="263029" y="445770"/>
                  </a:lnTo>
                  <a:lnTo>
                    <a:pt x="200355" y="445770"/>
                  </a:lnTo>
                  <a:lnTo>
                    <a:pt x="202946" y="439293"/>
                  </a:lnTo>
                  <a:lnTo>
                    <a:pt x="204228" y="432181"/>
                  </a:lnTo>
                  <a:lnTo>
                    <a:pt x="204101" y="423037"/>
                  </a:lnTo>
                  <a:lnTo>
                    <a:pt x="203365" y="414731"/>
                  </a:lnTo>
                  <a:lnTo>
                    <a:pt x="174586" y="383870"/>
                  </a:lnTo>
                  <a:lnTo>
                    <a:pt x="155765" y="381000"/>
                  </a:lnTo>
                  <a:lnTo>
                    <a:pt x="151244" y="381000"/>
                  </a:lnTo>
                  <a:lnTo>
                    <a:pt x="127990" y="402971"/>
                  </a:lnTo>
                  <a:lnTo>
                    <a:pt x="126047" y="406273"/>
                  </a:lnTo>
                  <a:lnTo>
                    <a:pt x="123469" y="410845"/>
                  </a:lnTo>
                  <a:lnTo>
                    <a:pt x="121526" y="415290"/>
                  </a:lnTo>
                  <a:lnTo>
                    <a:pt x="118935" y="419862"/>
                  </a:lnTo>
                  <a:lnTo>
                    <a:pt x="117652" y="423037"/>
                  </a:lnTo>
                  <a:lnTo>
                    <a:pt x="115709" y="425704"/>
                  </a:lnTo>
                  <a:lnTo>
                    <a:pt x="112534" y="430415"/>
                  </a:lnTo>
                  <a:lnTo>
                    <a:pt x="108762" y="435660"/>
                  </a:lnTo>
                  <a:lnTo>
                    <a:pt x="104254" y="441261"/>
                  </a:lnTo>
                  <a:lnTo>
                    <a:pt x="98907" y="447040"/>
                  </a:lnTo>
                  <a:lnTo>
                    <a:pt x="98907" y="447675"/>
                  </a:lnTo>
                  <a:lnTo>
                    <a:pt x="98259" y="448310"/>
                  </a:lnTo>
                  <a:lnTo>
                    <a:pt x="96977" y="450342"/>
                  </a:lnTo>
                  <a:lnTo>
                    <a:pt x="92443" y="454787"/>
                  </a:lnTo>
                  <a:lnTo>
                    <a:pt x="91808" y="456184"/>
                  </a:lnTo>
                  <a:lnTo>
                    <a:pt x="89865" y="457454"/>
                  </a:lnTo>
                  <a:lnTo>
                    <a:pt x="88569" y="459359"/>
                  </a:lnTo>
                  <a:lnTo>
                    <a:pt x="87274" y="459994"/>
                  </a:lnTo>
                  <a:lnTo>
                    <a:pt x="85991" y="461264"/>
                  </a:lnTo>
                  <a:lnTo>
                    <a:pt x="84696" y="461899"/>
                  </a:lnTo>
                  <a:lnTo>
                    <a:pt x="83400" y="463296"/>
                  </a:lnTo>
                  <a:lnTo>
                    <a:pt x="82105" y="464566"/>
                  </a:lnTo>
                  <a:lnTo>
                    <a:pt x="80822" y="465201"/>
                  </a:lnTo>
                  <a:lnTo>
                    <a:pt x="79527" y="466471"/>
                  </a:lnTo>
                  <a:lnTo>
                    <a:pt x="78232" y="466471"/>
                  </a:lnTo>
                  <a:lnTo>
                    <a:pt x="76936" y="467106"/>
                  </a:lnTo>
                  <a:lnTo>
                    <a:pt x="47866" y="467106"/>
                  </a:lnTo>
                  <a:lnTo>
                    <a:pt x="47866" y="583692"/>
                  </a:lnTo>
                  <a:lnTo>
                    <a:pt x="47866" y="589534"/>
                  </a:lnTo>
                  <a:lnTo>
                    <a:pt x="46570" y="591439"/>
                  </a:lnTo>
                  <a:lnTo>
                    <a:pt x="44627" y="594106"/>
                  </a:lnTo>
                  <a:lnTo>
                    <a:pt x="42049" y="596011"/>
                  </a:lnTo>
                  <a:lnTo>
                    <a:pt x="40106" y="597281"/>
                  </a:lnTo>
                  <a:lnTo>
                    <a:pt x="34290" y="597281"/>
                  </a:lnTo>
                  <a:lnTo>
                    <a:pt x="31711" y="596011"/>
                  </a:lnTo>
                  <a:lnTo>
                    <a:pt x="29121" y="594106"/>
                  </a:lnTo>
                  <a:lnTo>
                    <a:pt x="27190" y="591439"/>
                  </a:lnTo>
                  <a:lnTo>
                    <a:pt x="25895" y="589534"/>
                  </a:lnTo>
                  <a:lnTo>
                    <a:pt x="25895" y="583692"/>
                  </a:lnTo>
                  <a:lnTo>
                    <a:pt x="27190" y="581152"/>
                  </a:lnTo>
                  <a:lnTo>
                    <a:pt x="29121" y="578485"/>
                  </a:lnTo>
                  <a:lnTo>
                    <a:pt x="31711" y="576580"/>
                  </a:lnTo>
                  <a:lnTo>
                    <a:pt x="34290" y="575310"/>
                  </a:lnTo>
                  <a:lnTo>
                    <a:pt x="40106" y="575310"/>
                  </a:lnTo>
                  <a:lnTo>
                    <a:pt x="42049" y="576580"/>
                  </a:lnTo>
                  <a:lnTo>
                    <a:pt x="44627" y="578485"/>
                  </a:lnTo>
                  <a:lnTo>
                    <a:pt x="46570" y="581152"/>
                  </a:lnTo>
                  <a:lnTo>
                    <a:pt x="47866" y="583692"/>
                  </a:lnTo>
                  <a:lnTo>
                    <a:pt x="47866" y="467106"/>
                  </a:lnTo>
                  <a:lnTo>
                    <a:pt x="20078" y="467106"/>
                  </a:lnTo>
                  <a:lnTo>
                    <a:pt x="14909" y="469773"/>
                  </a:lnTo>
                  <a:lnTo>
                    <a:pt x="11036" y="473583"/>
                  </a:lnTo>
                  <a:lnTo>
                    <a:pt x="6515" y="478155"/>
                  </a:lnTo>
                  <a:lnTo>
                    <a:pt x="4572" y="483362"/>
                  </a:lnTo>
                  <a:lnTo>
                    <a:pt x="4572" y="603123"/>
                  </a:lnTo>
                  <a:lnTo>
                    <a:pt x="6515" y="608330"/>
                  </a:lnTo>
                  <a:lnTo>
                    <a:pt x="11036" y="612267"/>
                  </a:lnTo>
                  <a:lnTo>
                    <a:pt x="14909" y="616712"/>
                  </a:lnTo>
                  <a:lnTo>
                    <a:pt x="20078" y="618744"/>
                  </a:lnTo>
                  <a:lnTo>
                    <a:pt x="74358" y="618744"/>
                  </a:lnTo>
                  <a:lnTo>
                    <a:pt x="80670" y="619353"/>
                  </a:lnTo>
                  <a:lnTo>
                    <a:pt x="89052" y="621144"/>
                  </a:lnTo>
                  <a:lnTo>
                    <a:pt x="99606" y="624166"/>
                  </a:lnTo>
                  <a:lnTo>
                    <a:pt x="127495" y="633501"/>
                  </a:lnTo>
                  <a:lnTo>
                    <a:pt x="141554" y="637146"/>
                  </a:lnTo>
                  <a:lnTo>
                    <a:pt x="154635" y="639356"/>
                  </a:lnTo>
                  <a:lnTo>
                    <a:pt x="166751" y="640080"/>
                  </a:lnTo>
                  <a:lnTo>
                    <a:pt x="177876" y="639229"/>
                  </a:lnTo>
                  <a:lnTo>
                    <a:pt x="211175" y="619061"/>
                  </a:lnTo>
                  <a:lnTo>
                    <a:pt x="219087" y="589534"/>
                  </a:lnTo>
                  <a:lnTo>
                    <a:pt x="223431" y="582891"/>
                  </a:lnTo>
                  <a:lnTo>
                    <a:pt x="226682" y="575627"/>
                  </a:lnTo>
                  <a:lnTo>
                    <a:pt x="228727" y="567893"/>
                  </a:lnTo>
                  <a:lnTo>
                    <a:pt x="229438" y="559816"/>
                  </a:lnTo>
                  <a:lnTo>
                    <a:pt x="229438" y="557149"/>
                  </a:lnTo>
                  <a:lnTo>
                    <a:pt x="228790" y="554609"/>
                  </a:lnTo>
                  <a:lnTo>
                    <a:pt x="228790" y="552577"/>
                  </a:lnTo>
                  <a:lnTo>
                    <a:pt x="232016" y="546100"/>
                  </a:lnTo>
                  <a:lnTo>
                    <a:pt x="234607" y="538988"/>
                  </a:lnTo>
                  <a:lnTo>
                    <a:pt x="234607" y="532511"/>
                  </a:lnTo>
                  <a:lnTo>
                    <a:pt x="263029" y="532511"/>
                  </a:lnTo>
                  <a:lnTo>
                    <a:pt x="299504" y="512914"/>
                  </a:lnTo>
                  <a:lnTo>
                    <a:pt x="305574" y="497649"/>
                  </a:lnTo>
                  <a:lnTo>
                    <a:pt x="306324" y="489204"/>
                  </a:lnTo>
                  <a:close/>
                </a:path>
              </a:pathLst>
            </a:custGeom>
            <a:solidFill>
              <a:srgbClr val="44536A"/>
            </a:solidFill>
          </p:spPr>
          <p:txBody>
            <a:bodyPr wrap="square" lIns="0" tIns="0" rIns="0" bIns="0" rtlCol="0"/>
            <a:lstStyle/>
            <a:p>
              <a:endParaRPr/>
            </a:p>
          </p:txBody>
        </p:sp>
        <p:pic>
          <p:nvPicPr>
            <p:cNvPr id="35" name="object 35"/>
            <p:cNvPicPr/>
            <p:nvPr/>
          </p:nvPicPr>
          <p:blipFill>
            <a:blip r:embed="rId12" cstate="screen">
              <a:extLst>
                <a:ext uri="{28A0092B-C50C-407E-A947-70E740481C1C}">
                  <a14:useLocalDpi xmlns:a14="http://schemas.microsoft.com/office/drawing/2010/main"/>
                </a:ext>
              </a:extLst>
            </a:blip>
            <a:stretch>
              <a:fillRect/>
            </a:stretch>
          </p:blipFill>
          <p:spPr>
            <a:xfrm>
              <a:off x="1222248" y="2272283"/>
              <a:ext cx="237744" cy="237743"/>
            </a:xfrm>
            <a:prstGeom prst="rect">
              <a:avLst/>
            </a:prstGeom>
          </p:spPr>
        </p:pic>
      </p:grpSp>
      <p:sp>
        <p:nvSpPr>
          <p:cNvPr id="36" name="object 36"/>
          <p:cNvSpPr txBox="1"/>
          <p:nvPr/>
        </p:nvSpPr>
        <p:spPr>
          <a:xfrm>
            <a:off x="4357496" y="3726307"/>
            <a:ext cx="1205865" cy="827405"/>
          </a:xfrm>
          <a:prstGeom prst="rect">
            <a:avLst/>
          </a:prstGeom>
        </p:spPr>
        <p:txBody>
          <a:bodyPr vert="horz" wrap="square" lIns="0" tIns="139065" rIns="0" bIns="0" rtlCol="0">
            <a:spAutoFit/>
          </a:bodyPr>
          <a:lstStyle/>
          <a:p>
            <a:pPr marL="12700">
              <a:lnSpc>
                <a:spcPct val="100000"/>
              </a:lnSpc>
              <a:spcBef>
                <a:spcPts val="1095"/>
              </a:spcBef>
            </a:pPr>
            <a:r>
              <a:rPr sz="1800" spc="-5" dirty="0">
                <a:latin typeface="Arial"/>
                <a:cs typeface="Arial"/>
              </a:rPr>
              <a:t>Cash</a:t>
            </a:r>
            <a:endParaRPr sz="1800">
              <a:latin typeface="Arial"/>
              <a:cs typeface="Arial"/>
            </a:endParaRPr>
          </a:p>
          <a:p>
            <a:pPr marL="12700">
              <a:lnSpc>
                <a:spcPct val="100000"/>
              </a:lnSpc>
              <a:spcBef>
                <a:spcPts val="994"/>
              </a:spcBef>
            </a:pPr>
            <a:r>
              <a:rPr sz="1800" spc="-5" dirty="0">
                <a:latin typeface="Arial"/>
                <a:cs typeface="Arial"/>
              </a:rPr>
              <a:t>Food</a:t>
            </a:r>
            <a:r>
              <a:rPr sz="1800" spc="-65" dirty="0">
                <a:latin typeface="Arial"/>
                <a:cs typeface="Arial"/>
              </a:rPr>
              <a:t> </a:t>
            </a:r>
            <a:r>
              <a:rPr sz="1800" spc="-5" dirty="0">
                <a:latin typeface="Arial"/>
                <a:cs typeface="Arial"/>
              </a:rPr>
              <a:t>packs</a:t>
            </a:r>
            <a:endParaRPr sz="1800">
              <a:latin typeface="Arial"/>
              <a:cs typeface="Arial"/>
            </a:endParaRPr>
          </a:p>
        </p:txBody>
      </p:sp>
      <p:grpSp>
        <p:nvGrpSpPr>
          <p:cNvPr id="37" name="object 37"/>
          <p:cNvGrpSpPr/>
          <p:nvPr/>
        </p:nvGrpSpPr>
        <p:grpSpPr>
          <a:xfrm>
            <a:off x="3464052" y="3116579"/>
            <a:ext cx="1793875" cy="690245"/>
            <a:chOff x="3464052" y="3116579"/>
            <a:chExt cx="1793875" cy="690245"/>
          </a:xfrm>
        </p:grpSpPr>
        <p:pic>
          <p:nvPicPr>
            <p:cNvPr id="38" name="object 38"/>
            <p:cNvPicPr/>
            <p:nvPr/>
          </p:nvPicPr>
          <p:blipFill>
            <a:blip r:embed="rId13" cstate="screen">
              <a:extLst>
                <a:ext uri="{28A0092B-C50C-407E-A947-70E740481C1C}">
                  <a14:useLocalDpi xmlns:a14="http://schemas.microsoft.com/office/drawing/2010/main"/>
                </a:ext>
              </a:extLst>
            </a:blip>
            <a:stretch>
              <a:fillRect/>
            </a:stretch>
          </p:blipFill>
          <p:spPr>
            <a:xfrm>
              <a:off x="4007231" y="3642740"/>
              <a:ext cx="183134" cy="163829"/>
            </a:xfrm>
            <a:prstGeom prst="rect">
              <a:avLst/>
            </a:prstGeom>
          </p:spPr>
        </p:pic>
        <p:sp>
          <p:nvSpPr>
            <p:cNvPr id="39" name="object 39"/>
            <p:cNvSpPr/>
            <p:nvPr/>
          </p:nvSpPr>
          <p:spPr>
            <a:xfrm>
              <a:off x="3999611" y="3548252"/>
              <a:ext cx="662305" cy="158115"/>
            </a:xfrm>
            <a:custGeom>
              <a:avLst/>
              <a:gdLst/>
              <a:ahLst/>
              <a:cxnLst/>
              <a:rect l="l" t="t" r="r" b="b"/>
              <a:pathLst>
                <a:path w="662304" h="158114">
                  <a:moveTo>
                    <a:pt x="294131" y="0"/>
                  </a:moveTo>
                  <a:lnTo>
                    <a:pt x="0" y="157988"/>
                  </a:lnTo>
                  <a:lnTo>
                    <a:pt x="661797" y="94107"/>
                  </a:lnTo>
                  <a:lnTo>
                    <a:pt x="294131" y="0"/>
                  </a:lnTo>
                  <a:close/>
                </a:path>
              </a:pathLst>
            </a:custGeom>
            <a:solidFill>
              <a:srgbClr val="2D75B6"/>
            </a:solidFill>
          </p:spPr>
          <p:txBody>
            <a:bodyPr wrap="square" lIns="0" tIns="0" rIns="0" bIns="0" rtlCol="0"/>
            <a:lstStyle/>
            <a:p>
              <a:endParaRPr/>
            </a:p>
          </p:txBody>
        </p:sp>
        <p:sp>
          <p:nvSpPr>
            <p:cNvPr id="40" name="object 40"/>
            <p:cNvSpPr/>
            <p:nvPr/>
          </p:nvSpPr>
          <p:spPr>
            <a:xfrm>
              <a:off x="4135247" y="3555872"/>
              <a:ext cx="525780" cy="86360"/>
            </a:xfrm>
            <a:custGeom>
              <a:avLst/>
              <a:gdLst/>
              <a:ahLst/>
              <a:cxnLst/>
              <a:rect l="l" t="t" r="r" b="b"/>
              <a:pathLst>
                <a:path w="525779" h="86360">
                  <a:moveTo>
                    <a:pt x="139191" y="0"/>
                  </a:moveTo>
                  <a:lnTo>
                    <a:pt x="0" y="78993"/>
                  </a:lnTo>
                  <a:lnTo>
                    <a:pt x="525779" y="85851"/>
                  </a:lnTo>
                  <a:lnTo>
                    <a:pt x="139191" y="0"/>
                  </a:lnTo>
                  <a:close/>
                </a:path>
              </a:pathLst>
            </a:custGeom>
            <a:solidFill>
              <a:srgbClr val="1F4E79"/>
            </a:solidFill>
          </p:spPr>
          <p:txBody>
            <a:bodyPr wrap="square" lIns="0" tIns="0" rIns="0" bIns="0" rtlCol="0"/>
            <a:lstStyle/>
            <a:p>
              <a:endParaRPr/>
            </a:p>
          </p:txBody>
        </p:sp>
        <p:sp>
          <p:nvSpPr>
            <p:cNvPr id="41" name="object 41"/>
            <p:cNvSpPr/>
            <p:nvPr/>
          </p:nvSpPr>
          <p:spPr>
            <a:xfrm>
              <a:off x="3464687" y="3438524"/>
              <a:ext cx="1315720" cy="204470"/>
            </a:xfrm>
            <a:custGeom>
              <a:avLst/>
              <a:gdLst/>
              <a:ahLst/>
              <a:cxnLst/>
              <a:rect l="l" t="t" r="r" b="b"/>
              <a:pathLst>
                <a:path w="1315720" h="204470">
                  <a:moveTo>
                    <a:pt x="1315339" y="0"/>
                  </a:moveTo>
                  <a:lnTo>
                    <a:pt x="0" y="53848"/>
                  </a:lnTo>
                  <a:lnTo>
                    <a:pt x="1197483" y="204216"/>
                  </a:lnTo>
                  <a:lnTo>
                    <a:pt x="1315339" y="0"/>
                  </a:lnTo>
                  <a:close/>
                </a:path>
              </a:pathLst>
            </a:custGeom>
            <a:solidFill>
              <a:srgbClr val="2D75B6"/>
            </a:solidFill>
          </p:spPr>
          <p:txBody>
            <a:bodyPr wrap="square" lIns="0" tIns="0" rIns="0" bIns="0" rtlCol="0"/>
            <a:lstStyle/>
            <a:p>
              <a:endParaRPr/>
            </a:p>
          </p:txBody>
        </p:sp>
        <p:sp>
          <p:nvSpPr>
            <p:cNvPr id="42" name="object 42"/>
            <p:cNvSpPr/>
            <p:nvPr/>
          </p:nvSpPr>
          <p:spPr>
            <a:xfrm>
              <a:off x="3464687" y="3469004"/>
              <a:ext cx="1299210" cy="79375"/>
            </a:xfrm>
            <a:custGeom>
              <a:avLst/>
              <a:gdLst/>
              <a:ahLst/>
              <a:cxnLst/>
              <a:rect l="l" t="t" r="r" b="b"/>
              <a:pathLst>
                <a:path w="1299210" h="79375">
                  <a:moveTo>
                    <a:pt x="1298828" y="0"/>
                  </a:moveTo>
                  <a:lnTo>
                    <a:pt x="0" y="22987"/>
                  </a:lnTo>
                  <a:lnTo>
                    <a:pt x="1251712" y="78994"/>
                  </a:lnTo>
                  <a:lnTo>
                    <a:pt x="1298828" y="0"/>
                  </a:lnTo>
                  <a:close/>
                </a:path>
              </a:pathLst>
            </a:custGeom>
            <a:solidFill>
              <a:srgbClr val="1F4E79"/>
            </a:solidFill>
          </p:spPr>
          <p:txBody>
            <a:bodyPr wrap="square" lIns="0" tIns="0" rIns="0" bIns="0" rtlCol="0"/>
            <a:lstStyle/>
            <a:p>
              <a:endParaRPr/>
            </a:p>
          </p:txBody>
        </p:sp>
        <p:sp>
          <p:nvSpPr>
            <p:cNvPr id="43" name="object 43"/>
            <p:cNvSpPr/>
            <p:nvPr/>
          </p:nvSpPr>
          <p:spPr>
            <a:xfrm>
              <a:off x="3464052" y="3116579"/>
              <a:ext cx="1793875" cy="387350"/>
            </a:xfrm>
            <a:custGeom>
              <a:avLst/>
              <a:gdLst/>
              <a:ahLst/>
              <a:cxnLst/>
              <a:rect l="l" t="t" r="r" b="b"/>
              <a:pathLst>
                <a:path w="1793875" h="387350">
                  <a:moveTo>
                    <a:pt x="1746503" y="0"/>
                  </a:moveTo>
                  <a:lnTo>
                    <a:pt x="62357" y="64643"/>
                  </a:lnTo>
                  <a:lnTo>
                    <a:pt x="0" y="374904"/>
                  </a:lnTo>
                  <a:lnTo>
                    <a:pt x="1793748" y="387096"/>
                  </a:lnTo>
                  <a:lnTo>
                    <a:pt x="1746503" y="0"/>
                  </a:lnTo>
                  <a:close/>
                </a:path>
              </a:pathLst>
            </a:custGeom>
            <a:solidFill>
              <a:srgbClr val="2D75B6"/>
            </a:solidFill>
          </p:spPr>
          <p:txBody>
            <a:bodyPr wrap="square" lIns="0" tIns="0" rIns="0" bIns="0" rtlCol="0"/>
            <a:lstStyle/>
            <a:p>
              <a:endParaRPr/>
            </a:p>
          </p:txBody>
        </p:sp>
      </p:grpSp>
      <p:sp>
        <p:nvSpPr>
          <p:cNvPr id="44" name="object 44"/>
          <p:cNvSpPr txBox="1"/>
          <p:nvPr/>
        </p:nvSpPr>
        <p:spPr>
          <a:xfrm>
            <a:off x="420725" y="842213"/>
            <a:ext cx="5029835" cy="2630170"/>
          </a:xfrm>
          <a:prstGeom prst="rect">
            <a:avLst/>
          </a:prstGeom>
        </p:spPr>
        <p:txBody>
          <a:bodyPr vert="horz" wrap="square" lIns="0" tIns="12700" rIns="0" bIns="0" rtlCol="0">
            <a:spAutoFit/>
          </a:bodyPr>
          <a:lstStyle/>
          <a:p>
            <a:pPr marL="12700">
              <a:lnSpc>
                <a:spcPct val="100000"/>
              </a:lnSpc>
              <a:spcBef>
                <a:spcPts val="100"/>
              </a:spcBef>
            </a:pPr>
            <a:r>
              <a:rPr sz="1800" spc="-10" dirty="0">
                <a:solidFill>
                  <a:srgbClr val="FFFFFF"/>
                </a:solidFill>
                <a:latin typeface="Arial Black"/>
                <a:cs typeface="Arial Black"/>
              </a:rPr>
              <a:t>SERVICES</a:t>
            </a:r>
            <a:endParaRPr sz="1800">
              <a:latin typeface="Arial Black"/>
              <a:cs typeface="Arial Black"/>
            </a:endParaRPr>
          </a:p>
          <a:p>
            <a:pPr>
              <a:lnSpc>
                <a:spcPct val="100000"/>
              </a:lnSpc>
              <a:spcBef>
                <a:spcPts val="20"/>
              </a:spcBef>
            </a:pPr>
            <a:endParaRPr sz="2000">
              <a:latin typeface="Arial Black"/>
              <a:cs typeface="Arial Black"/>
            </a:endParaRPr>
          </a:p>
          <a:p>
            <a:pPr marL="621665">
              <a:lnSpc>
                <a:spcPct val="100000"/>
              </a:lnSpc>
              <a:spcBef>
                <a:spcPts val="5"/>
              </a:spcBef>
            </a:pPr>
            <a:r>
              <a:rPr sz="1800" spc="-10" dirty="0">
                <a:latin typeface="Arial"/>
                <a:cs typeface="Arial"/>
              </a:rPr>
              <a:t>Development</a:t>
            </a:r>
            <a:r>
              <a:rPr sz="1800" spc="10" dirty="0">
                <a:latin typeface="Arial"/>
                <a:cs typeface="Arial"/>
              </a:rPr>
              <a:t> </a:t>
            </a:r>
            <a:r>
              <a:rPr sz="1800" spc="-5" dirty="0">
                <a:latin typeface="Arial"/>
                <a:cs typeface="Arial"/>
              </a:rPr>
              <a:t>of</a:t>
            </a:r>
            <a:r>
              <a:rPr sz="1800" spc="-10" dirty="0">
                <a:latin typeface="Arial"/>
                <a:cs typeface="Arial"/>
              </a:rPr>
              <a:t> </a:t>
            </a:r>
            <a:r>
              <a:rPr sz="1800" dirty="0">
                <a:latin typeface="Arial"/>
                <a:cs typeface="Arial"/>
              </a:rPr>
              <a:t>VOIP</a:t>
            </a:r>
            <a:endParaRPr sz="1800">
              <a:latin typeface="Arial"/>
              <a:cs typeface="Arial"/>
            </a:endParaRPr>
          </a:p>
          <a:p>
            <a:pPr marL="1078865" marR="5080" indent="-457200">
              <a:lnSpc>
                <a:spcPts val="2950"/>
              </a:lnSpc>
              <a:spcBef>
                <a:spcPts val="220"/>
              </a:spcBef>
            </a:pPr>
            <a:r>
              <a:rPr sz="1800" spc="-5" dirty="0">
                <a:latin typeface="Arial"/>
                <a:cs typeface="Arial"/>
              </a:rPr>
              <a:t>Reminders</a:t>
            </a:r>
            <a:r>
              <a:rPr sz="1800" spc="15" dirty="0">
                <a:latin typeface="Arial"/>
                <a:cs typeface="Arial"/>
              </a:rPr>
              <a:t> </a:t>
            </a:r>
            <a:r>
              <a:rPr sz="1800" dirty="0">
                <a:latin typeface="Arial"/>
                <a:cs typeface="Arial"/>
              </a:rPr>
              <a:t>for</a:t>
            </a:r>
            <a:r>
              <a:rPr sz="1800" spc="-20" dirty="0">
                <a:latin typeface="Arial"/>
                <a:cs typeface="Arial"/>
              </a:rPr>
              <a:t> </a:t>
            </a:r>
            <a:r>
              <a:rPr sz="1800" spc="-5" dirty="0">
                <a:latin typeface="Arial"/>
                <a:cs typeface="Arial"/>
              </a:rPr>
              <a:t>non-responsive</a:t>
            </a:r>
            <a:r>
              <a:rPr sz="1800" spc="15" dirty="0">
                <a:latin typeface="Arial"/>
                <a:cs typeface="Arial"/>
              </a:rPr>
              <a:t> </a:t>
            </a:r>
            <a:r>
              <a:rPr sz="1800" spc="-5" dirty="0">
                <a:latin typeface="Arial"/>
                <a:cs typeface="Arial"/>
              </a:rPr>
              <a:t>patients</a:t>
            </a:r>
            <a:r>
              <a:rPr sz="1800" spc="10" dirty="0">
                <a:latin typeface="Arial"/>
                <a:cs typeface="Arial"/>
              </a:rPr>
              <a:t> </a:t>
            </a:r>
            <a:r>
              <a:rPr sz="1800" dirty="0">
                <a:latin typeface="Arial"/>
                <a:cs typeface="Arial"/>
              </a:rPr>
              <a:t>HIQ </a:t>
            </a:r>
            <a:r>
              <a:rPr sz="1800" spc="-490" dirty="0">
                <a:latin typeface="Arial"/>
                <a:cs typeface="Arial"/>
              </a:rPr>
              <a:t> </a:t>
            </a:r>
            <a:r>
              <a:rPr sz="1800" spc="-5" dirty="0">
                <a:latin typeface="Arial"/>
                <a:cs typeface="Arial"/>
              </a:rPr>
              <a:t>Robocall</a:t>
            </a:r>
            <a:r>
              <a:rPr sz="1800" spc="20" dirty="0">
                <a:latin typeface="Arial"/>
                <a:cs typeface="Arial"/>
              </a:rPr>
              <a:t> </a:t>
            </a:r>
            <a:r>
              <a:rPr sz="1800" dirty="0">
                <a:latin typeface="Arial"/>
                <a:cs typeface="Arial"/>
              </a:rPr>
              <a:t>&amp; SMS</a:t>
            </a:r>
            <a:endParaRPr sz="1800">
              <a:latin typeface="Arial"/>
              <a:cs typeface="Arial"/>
            </a:endParaRPr>
          </a:p>
          <a:p>
            <a:pPr marL="621665">
              <a:lnSpc>
                <a:spcPct val="100000"/>
              </a:lnSpc>
              <a:spcBef>
                <a:spcPts val="550"/>
              </a:spcBef>
            </a:pPr>
            <a:r>
              <a:rPr sz="1800" spc="-5" dirty="0">
                <a:latin typeface="Arial"/>
                <a:cs typeface="Arial"/>
              </a:rPr>
              <a:t>Call centre </a:t>
            </a:r>
            <a:r>
              <a:rPr sz="1800" dirty="0">
                <a:latin typeface="Arial"/>
                <a:cs typeface="Arial"/>
              </a:rPr>
              <a:t>for</a:t>
            </a:r>
            <a:r>
              <a:rPr sz="1800" spc="-10" dirty="0">
                <a:latin typeface="Arial"/>
                <a:cs typeface="Arial"/>
              </a:rPr>
              <a:t> </a:t>
            </a:r>
            <a:r>
              <a:rPr sz="1800" spc="-5" dirty="0">
                <a:latin typeface="Arial"/>
                <a:cs typeface="Arial"/>
              </a:rPr>
              <a:t>mental</a:t>
            </a:r>
            <a:r>
              <a:rPr sz="1800" dirty="0">
                <a:latin typeface="Arial"/>
                <a:cs typeface="Arial"/>
              </a:rPr>
              <a:t> </a:t>
            </a:r>
            <a:r>
              <a:rPr sz="1800" spc="-5" dirty="0">
                <a:latin typeface="Arial"/>
                <a:cs typeface="Arial"/>
              </a:rPr>
              <a:t>health</a:t>
            </a:r>
            <a:endParaRPr sz="1800">
              <a:latin typeface="Arial"/>
              <a:cs typeface="Arial"/>
            </a:endParaRPr>
          </a:p>
          <a:p>
            <a:pPr>
              <a:lnSpc>
                <a:spcPct val="100000"/>
              </a:lnSpc>
              <a:spcBef>
                <a:spcPts val="50"/>
              </a:spcBef>
            </a:pPr>
            <a:endParaRPr sz="2000">
              <a:latin typeface="Arial"/>
              <a:cs typeface="Arial"/>
            </a:endParaRPr>
          </a:p>
          <a:p>
            <a:pPr marL="99695">
              <a:lnSpc>
                <a:spcPct val="100000"/>
              </a:lnSpc>
              <a:tabLst>
                <a:tab pos="3302000" algn="l"/>
              </a:tabLst>
            </a:pPr>
            <a:r>
              <a:rPr sz="2700" spc="-7" baseline="1543" dirty="0">
                <a:solidFill>
                  <a:srgbClr val="FFFFFF"/>
                </a:solidFill>
                <a:latin typeface="Arial Black"/>
                <a:cs typeface="Arial Black"/>
              </a:rPr>
              <a:t>ASSETS	</a:t>
            </a:r>
            <a:r>
              <a:rPr sz="1800" spc="-20" dirty="0">
                <a:solidFill>
                  <a:srgbClr val="FFFFFF"/>
                </a:solidFill>
                <a:latin typeface="Arial Black"/>
                <a:cs typeface="Arial Black"/>
              </a:rPr>
              <a:t>DONATION</a:t>
            </a:r>
            <a:endParaRPr sz="1800">
              <a:latin typeface="Arial Black"/>
              <a:cs typeface="Arial Black"/>
            </a:endParaRPr>
          </a:p>
        </p:txBody>
      </p:sp>
      <p:sp>
        <p:nvSpPr>
          <p:cNvPr id="45" name="object 45"/>
          <p:cNvSpPr/>
          <p:nvPr/>
        </p:nvSpPr>
        <p:spPr>
          <a:xfrm>
            <a:off x="4020312" y="3890771"/>
            <a:ext cx="311150" cy="631190"/>
          </a:xfrm>
          <a:custGeom>
            <a:avLst/>
            <a:gdLst/>
            <a:ahLst/>
            <a:cxnLst/>
            <a:rect l="l" t="t" r="r" b="b"/>
            <a:pathLst>
              <a:path w="311150" h="631189">
                <a:moveTo>
                  <a:pt x="301752" y="480949"/>
                </a:moveTo>
                <a:lnTo>
                  <a:pt x="282244" y="445058"/>
                </a:lnTo>
                <a:lnTo>
                  <a:pt x="280416" y="444042"/>
                </a:lnTo>
                <a:lnTo>
                  <a:pt x="280416" y="475107"/>
                </a:lnTo>
                <a:lnTo>
                  <a:pt x="280416" y="486664"/>
                </a:lnTo>
                <a:lnTo>
                  <a:pt x="278511" y="491871"/>
                </a:lnTo>
                <a:lnTo>
                  <a:pt x="273939" y="495681"/>
                </a:lnTo>
                <a:lnTo>
                  <a:pt x="269494" y="500253"/>
                </a:lnTo>
                <a:lnTo>
                  <a:pt x="264287" y="502158"/>
                </a:lnTo>
                <a:lnTo>
                  <a:pt x="202946" y="502158"/>
                </a:lnTo>
                <a:lnTo>
                  <a:pt x="204851" y="504063"/>
                </a:lnTo>
                <a:lnTo>
                  <a:pt x="206121" y="506603"/>
                </a:lnTo>
                <a:lnTo>
                  <a:pt x="207391" y="510540"/>
                </a:lnTo>
                <a:lnTo>
                  <a:pt x="208597" y="516724"/>
                </a:lnTo>
                <a:lnTo>
                  <a:pt x="208661" y="527304"/>
                </a:lnTo>
                <a:lnTo>
                  <a:pt x="206121" y="533654"/>
                </a:lnTo>
                <a:lnTo>
                  <a:pt x="199644" y="539496"/>
                </a:lnTo>
                <a:lnTo>
                  <a:pt x="202184" y="543306"/>
                </a:lnTo>
                <a:lnTo>
                  <a:pt x="202946" y="547243"/>
                </a:lnTo>
                <a:lnTo>
                  <a:pt x="202946" y="555625"/>
                </a:lnTo>
                <a:lnTo>
                  <a:pt x="202184" y="559435"/>
                </a:lnTo>
                <a:lnTo>
                  <a:pt x="200279" y="563372"/>
                </a:lnTo>
                <a:lnTo>
                  <a:pt x="198374" y="567817"/>
                </a:lnTo>
                <a:lnTo>
                  <a:pt x="195199" y="570357"/>
                </a:lnTo>
                <a:lnTo>
                  <a:pt x="191897" y="572389"/>
                </a:lnTo>
                <a:lnTo>
                  <a:pt x="193167" y="578739"/>
                </a:lnTo>
                <a:lnTo>
                  <a:pt x="160909" y="609727"/>
                </a:lnTo>
                <a:lnTo>
                  <a:pt x="153987" y="609371"/>
                </a:lnTo>
                <a:lnTo>
                  <a:pt x="146685" y="608317"/>
                </a:lnTo>
                <a:lnTo>
                  <a:pt x="138899" y="606679"/>
                </a:lnTo>
                <a:lnTo>
                  <a:pt x="130556" y="604520"/>
                </a:lnTo>
                <a:lnTo>
                  <a:pt x="98171" y="593598"/>
                </a:lnTo>
                <a:lnTo>
                  <a:pt x="90309" y="591185"/>
                </a:lnTo>
                <a:lnTo>
                  <a:pt x="83032" y="589572"/>
                </a:lnTo>
                <a:lnTo>
                  <a:pt x="76212" y="588670"/>
                </a:lnTo>
                <a:lnTo>
                  <a:pt x="69723" y="588391"/>
                </a:lnTo>
                <a:lnTo>
                  <a:pt x="64643" y="588391"/>
                </a:lnTo>
                <a:lnTo>
                  <a:pt x="64643" y="566547"/>
                </a:lnTo>
                <a:lnTo>
                  <a:pt x="64643" y="480949"/>
                </a:lnTo>
                <a:lnTo>
                  <a:pt x="69723" y="480949"/>
                </a:lnTo>
                <a:lnTo>
                  <a:pt x="75971" y="480339"/>
                </a:lnTo>
                <a:lnTo>
                  <a:pt x="110490" y="453263"/>
                </a:lnTo>
                <a:lnTo>
                  <a:pt x="116408" y="446735"/>
                </a:lnTo>
                <a:lnTo>
                  <a:pt x="121551" y="440613"/>
                </a:lnTo>
                <a:lnTo>
                  <a:pt x="125857" y="434860"/>
                </a:lnTo>
                <a:lnTo>
                  <a:pt x="129286" y="429387"/>
                </a:lnTo>
                <a:lnTo>
                  <a:pt x="131191" y="426847"/>
                </a:lnTo>
                <a:lnTo>
                  <a:pt x="133096" y="422910"/>
                </a:lnTo>
                <a:lnTo>
                  <a:pt x="135636" y="418465"/>
                </a:lnTo>
                <a:lnTo>
                  <a:pt x="140868" y="407936"/>
                </a:lnTo>
                <a:lnTo>
                  <a:pt x="145110" y="400481"/>
                </a:lnTo>
                <a:lnTo>
                  <a:pt x="148501" y="396062"/>
                </a:lnTo>
                <a:lnTo>
                  <a:pt x="151257" y="394589"/>
                </a:lnTo>
                <a:lnTo>
                  <a:pt x="159004" y="394589"/>
                </a:lnTo>
                <a:lnTo>
                  <a:pt x="165354" y="396621"/>
                </a:lnTo>
                <a:lnTo>
                  <a:pt x="170561" y="399796"/>
                </a:lnTo>
                <a:lnTo>
                  <a:pt x="175133" y="403606"/>
                </a:lnTo>
                <a:lnTo>
                  <a:pt x="177673" y="408813"/>
                </a:lnTo>
                <a:lnTo>
                  <a:pt x="177673" y="421005"/>
                </a:lnTo>
                <a:lnTo>
                  <a:pt x="177038" y="426212"/>
                </a:lnTo>
                <a:lnTo>
                  <a:pt x="175133" y="430657"/>
                </a:lnTo>
                <a:lnTo>
                  <a:pt x="173863" y="435229"/>
                </a:lnTo>
                <a:lnTo>
                  <a:pt x="171831" y="439039"/>
                </a:lnTo>
                <a:lnTo>
                  <a:pt x="169926" y="441579"/>
                </a:lnTo>
                <a:lnTo>
                  <a:pt x="167906" y="445058"/>
                </a:lnTo>
                <a:lnTo>
                  <a:pt x="166116" y="448056"/>
                </a:lnTo>
                <a:lnTo>
                  <a:pt x="164084" y="451231"/>
                </a:lnTo>
                <a:lnTo>
                  <a:pt x="162814" y="454533"/>
                </a:lnTo>
                <a:lnTo>
                  <a:pt x="161544" y="457073"/>
                </a:lnTo>
                <a:lnTo>
                  <a:pt x="161544" y="458978"/>
                </a:lnTo>
                <a:lnTo>
                  <a:pt x="264287" y="458978"/>
                </a:lnTo>
                <a:lnTo>
                  <a:pt x="269494" y="461645"/>
                </a:lnTo>
                <a:lnTo>
                  <a:pt x="273939" y="466090"/>
                </a:lnTo>
                <a:lnTo>
                  <a:pt x="277876" y="469900"/>
                </a:lnTo>
                <a:lnTo>
                  <a:pt x="280416" y="475107"/>
                </a:lnTo>
                <a:lnTo>
                  <a:pt x="280416" y="444042"/>
                </a:lnTo>
                <a:lnTo>
                  <a:pt x="275094" y="441045"/>
                </a:lnTo>
                <a:lnTo>
                  <a:pt x="267195" y="438594"/>
                </a:lnTo>
                <a:lnTo>
                  <a:pt x="258445" y="437769"/>
                </a:lnTo>
                <a:lnTo>
                  <a:pt x="195834" y="437769"/>
                </a:lnTo>
                <a:lnTo>
                  <a:pt x="198374" y="431292"/>
                </a:lnTo>
                <a:lnTo>
                  <a:pt x="199644" y="424307"/>
                </a:lnTo>
                <a:lnTo>
                  <a:pt x="199529" y="415290"/>
                </a:lnTo>
                <a:lnTo>
                  <a:pt x="198793" y="406882"/>
                </a:lnTo>
                <a:lnTo>
                  <a:pt x="170002" y="376186"/>
                </a:lnTo>
                <a:lnTo>
                  <a:pt x="151257" y="373380"/>
                </a:lnTo>
                <a:lnTo>
                  <a:pt x="146685" y="373380"/>
                </a:lnTo>
                <a:lnTo>
                  <a:pt x="123444" y="395224"/>
                </a:lnTo>
                <a:lnTo>
                  <a:pt x="121539" y="398526"/>
                </a:lnTo>
                <a:lnTo>
                  <a:pt x="118872" y="402971"/>
                </a:lnTo>
                <a:lnTo>
                  <a:pt x="116967" y="407543"/>
                </a:lnTo>
                <a:lnTo>
                  <a:pt x="114427" y="411988"/>
                </a:lnTo>
                <a:lnTo>
                  <a:pt x="113030" y="415290"/>
                </a:lnTo>
                <a:lnTo>
                  <a:pt x="111125" y="417830"/>
                </a:lnTo>
                <a:lnTo>
                  <a:pt x="107975" y="422465"/>
                </a:lnTo>
                <a:lnTo>
                  <a:pt x="104216" y="427672"/>
                </a:lnTo>
                <a:lnTo>
                  <a:pt x="99707" y="433260"/>
                </a:lnTo>
                <a:lnTo>
                  <a:pt x="94361" y="439039"/>
                </a:lnTo>
                <a:lnTo>
                  <a:pt x="94361" y="439674"/>
                </a:lnTo>
                <a:lnTo>
                  <a:pt x="93726" y="440309"/>
                </a:lnTo>
                <a:lnTo>
                  <a:pt x="92456" y="442214"/>
                </a:lnTo>
                <a:lnTo>
                  <a:pt x="87884" y="446786"/>
                </a:lnTo>
                <a:lnTo>
                  <a:pt x="87249" y="448056"/>
                </a:lnTo>
                <a:lnTo>
                  <a:pt x="85344" y="449326"/>
                </a:lnTo>
                <a:lnTo>
                  <a:pt x="83947" y="451231"/>
                </a:lnTo>
                <a:lnTo>
                  <a:pt x="82677" y="451993"/>
                </a:lnTo>
                <a:lnTo>
                  <a:pt x="81407" y="453263"/>
                </a:lnTo>
                <a:lnTo>
                  <a:pt x="80137" y="453898"/>
                </a:lnTo>
                <a:lnTo>
                  <a:pt x="77597" y="456438"/>
                </a:lnTo>
                <a:lnTo>
                  <a:pt x="76200" y="457073"/>
                </a:lnTo>
                <a:lnTo>
                  <a:pt x="74930" y="458343"/>
                </a:lnTo>
                <a:lnTo>
                  <a:pt x="73660" y="458343"/>
                </a:lnTo>
                <a:lnTo>
                  <a:pt x="72390" y="458978"/>
                </a:lnTo>
                <a:lnTo>
                  <a:pt x="43307" y="458978"/>
                </a:lnTo>
                <a:lnTo>
                  <a:pt x="43307" y="574929"/>
                </a:lnTo>
                <a:lnTo>
                  <a:pt x="43307" y="580771"/>
                </a:lnTo>
                <a:lnTo>
                  <a:pt x="42037" y="582676"/>
                </a:lnTo>
                <a:lnTo>
                  <a:pt x="40005" y="585216"/>
                </a:lnTo>
                <a:lnTo>
                  <a:pt x="37465" y="587121"/>
                </a:lnTo>
                <a:lnTo>
                  <a:pt x="35560" y="588391"/>
                </a:lnTo>
                <a:lnTo>
                  <a:pt x="29718" y="588391"/>
                </a:lnTo>
                <a:lnTo>
                  <a:pt x="27178" y="587121"/>
                </a:lnTo>
                <a:lnTo>
                  <a:pt x="24511" y="585216"/>
                </a:lnTo>
                <a:lnTo>
                  <a:pt x="22606" y="582676"/>
                </a:lnTo>
                <a:lnTo>
                  <a:pt x="21336" y="580771"/>
                </a:lnTo>
                <a:lnTo>
                  <a:pt x="21336" y="574929"/>
                </a:lnTo>
                <a:lnTo>
                  <a:pt x="22606" y="572389"/>
                </a:lnTo>
                <a:lnTo>
                  <a:pt x="24511" y="569722"/>
                </a:lnTo>
                <a:lnTo>
                  <a:pt x="27178" y="567817"/>
                </a:lnTo>
                <a:lnTo>
                  <a:pt x="29718" y="566547"/>
                </a:lnTo>
                <a:lnTo>
                  <a:pt x="35560" y="566547"/>
                </a:lnTo>
                <a:lnTo>
                  <a:pt x="37465" y="567817"/>
                </a:lnTo>
                <a:lnTo>
                  <a:pt x="40005" y="569722"/>
                </a:lnTo>
                <a:lnTo>
                  <a:pt x="42037" y="572389"/>
                </a:lnTo>
                <a:lnTo>
                  <a:pt x="43307" y="574929"/>
                </a:lnTo>
                <a:lnTo>
                  <a:pt x="43307" y="458978"/>
                </a:lnTo>
                <a:lnTo>
                  <a:pt x="15494" y="458978"/>
                </a:lnTo>
                <a:lnTo>
                  <a:pt x="10287" y="461645"/>
                </a:lnTo>
                <a:lnTo>
                  <a:pt x="6477" y="465455"/>
                </a:lnTo>
                <a:lnTo>
                  <a:pt x="1905" y="469900"/>
                </a:lnTo>
                <a:lnTo>
                  <a:pt x="0" y="475107"/>
                </a:lnTo>
                <a:lnTo>
                  <a:pt x="0" y="594245"/>
                </a:lnTo>
                <a:lnTo>
                  <a:pt x="1905" y="599440"/>
                </a:lnTo>
                <a:lnTo>
                  <a:pt x="6477" y="603250"/>
                </a:lnTo>
                <a:lnTo>
                  <a:pt x="10287" y="607695"/>
                </a:lnTo>
                <a:lnTo>
                  <a:pt x="15494" y="609727"/>
                </a:lnTo>
                <a:lnTo>
                  <a:pt x="69723" y="609727"/>
                </a:lnTo>
                <a:lnTo>
                  <a:pt x="76047" y="610336"/>
                </a:lnTo>
                <a:lnTo>
                  <a:pt x="84455" y="612127"/>
                </a:lnTo>
                <a:lnTo>
                  <a:pt x="95046" y="615149"/>
                </a:lnTo>
                <a:lnTo>
                  <a:pt x="107950" y="619379"/>
                </a:lnTo>
                <a:lnTo>
                  <a:pt x="122923" y="624459"/>
                </a:lnTo>
                <a:lnTo>
                  <a:pt x="136956" y="628065"/>
                </a:lnTo>
                <a:lnTo>
                  <a:pt x="150050" y="630224"/>
                </a:lnTo>
                <a:lnTo>
                  <a:pt x="162179" y="630936"/>
                </a:lnTo>
                <a:lnTo>
                  <a:pt x="173304" y="630110"/>
                </a:lnTo>
                <a:lnTo>
                  <a:pt x="206616" y="610108"/>
                </a:lnTo>
                <a:lnTo>
                  <a:pt x="214503" y="580771"/>
                </a:lnTo>
                <a:lnTo>
                  <a:pt x="218859" y="574154"/>
                </a:lnTo>
                <a:lnTo>
                  <a:pt x="222135" y="566915"/>
                </a:lnTo>
                <a:lnTo>
                  <a:pt x="224193" y="559181"/>
                </a:lnTo>
                <a:lnTo>
                  <a:pt x="224917" y="551053"/>
                </a:lnTo>
                <a:lnTo>
                  <a:pt x="224917" y="548513"/>
                </a:lnTo>
                <a:lnTo>
                  <a:pt x="224155" y="545973"/>
                </a:lnTo>
                <a:lnTo>
                  <a:pt x="224155" y="544068"/>
                </a:lnTo>
                <a:lnTo>
                  <a:pt x="227457" y="537591"/>
                </a:lnTo>
                <a:lnTo>
                  <a:pt x="229997" y="530479"/>
                </a:lnTo>
                <a:lnTo>
                  <a:pt x="229997" y="524002"/>
                </a:lnTo>
                <a:lnTo>
                  <a:pt x="258445" y="524002"/>
                </a:lnTo>
                <a:lnTo>
                  <a:pt x="294894" y="504545"/>
                </a:lnTo>
                <a:lnTo>
                  <a:pt x="301002" y="489369"/>
                </a:lnTo>
                <a:lnTo>
                  <a:pt x="301752" y="480949"/>
                </a:lnTo>
                <a:close/>
              </a:path>
              <a:path w="311150" h="631189">
                <a:moveTo>
                  <a:pt x="310896" y="108204"/>
                </a:moveTo>
                <a:lnTo>
                  <a:pt x="291388" y="72174"/>
                </a:lnTo>
                <a:lnTo>
                  <a:pt x="289560" y="71145"/>
                </a:lnTo>
                <a:lnTo>
                  <a:pt x="289560" y="102362"/>
                </a:lnTo>
                <a:lnTo>
                  <a:pt x="289560" y="114046"/>
                </a:lnTo>
                <a:lnTo>
                  <a:pt x="287655" y="119126"/>
                </a:lnTo>
                <a:lnTo>
                  <a:pt x="283083" y="123063"/>
                </a:lnTo>
                <a:lnTo>
                  <a:pt x="278638" y="127635"/>
                </a:lnTo>
                <a:lnTo>
                  <a:pt x="273431" y="129540"/>
                </a:lnTo>
                <a:lnTo>
                  <a:pt x="212090" y="129540"/>
                </a:lnTo>
                <a:lnTo>
                  <a:pt x="213995" y="131445"/>
                </a:lnTo>
                <a:lnTo>
                  <a:pt x="215265" y="134112"/>
                </a:lnTo>
                <a:lnTo>
                  <a:pt x="216535" y="137922"/>
                </a:lnTo>
                <a:lnTo>
                  <a:pt x="217754" y="144183"/>
                </a:lnTo>
                <a:lnTo>
                  <a:pt x="217805" y="154813"/>
                </a:lnTo>
                <a:lnTo>
                  <a:pt x="215265" y="161290"/>
                </a:lnTo>
                <a:lnTo>
                  <a:pt x="208788" y="167132"/>
                </a:lnTo>
                <a:lnTo>
                  <a:pt x="211328" y="170942"/>
                </a:lnTo>
                <a:lnTo>
                  <a:pt x="212090" y="174879"/>
                </a:lnTo>
                <a:lnTo>
                  <a:pt x="212090" y="183261"/>
                </a:lnTo>
                <a:lnTo>
                  <a:pt x="211328" y="187198"/>
                </a:lnTo>
                <a:lnTo>
                  <a:pt x="209423" y="191008"/>
                </a:lnTo>
                <a:lnTo>
                  <a:pt x="207518" y="195580"/>
                </a:lnTo>
                <a:lnTo>
                  <a:pt x="204343" y="198247"/>
                </a:lnTo>
                <a:lnTo>
                  <a:pt x="201041" y="200152"/>
                </a:lnTo>
                <a:lnTo>
                  <a:pt x="202311" y="206629"/>
                </a:lnTo>
                <a:lnTo>
                  <a:pt x="170053" y="237744"/>
                </a:lnTo>
                <a:lnTo>
                  <a:pt x="163131" y="237388"/>
                </a:lnTo>
                <a:lnTo>
                  <a:pt x="155829" y="236334"/>
                </a:lnTo>
                <a:lnTo>
                  <a:pt x="148043" y="234696"/>
                </a:lnTo>
                <a:lnTo>
                  <a:pt x="139700" y="232537"/>
                </a:lnTo>
                <a:lnTo>
                  <a:pt x="131521" y="229704"/>
                </a:lnTo>
                <a:lnTo>
                  <a:pt x="115481" y="224332"/>
                </a:lnTo>
                <a:lnTo>
                  <a:pt x="78867" y="216281"/>
                </a:lnTo>
                <a:lnTo>
                  <a:pt x="73787" y="216281"/>
                </a:lnTo>
                <a:lnTo>
                  <a:pt x="73787" y="194310"/>
                </a:lnTo>
                <a:lnTo>
                  <a:pt x="73787" y="108204"/>
                </a:lnTo>
                <a:lnTo>
                  <a:pt x="78867" y="108204"/>
                </a:lnTo>
                <a:lnTo>
                  <a:pt x="85115" y="107594"/>
                </a:lnTo>
                <a:lnTo>
                  <a:pt x="119634" y="80264"/>
                </a:lnTo>
                <a:lnTo>
                  <a:pt x="125552" y="73736"/>
                </a:lnTo>
                <a:lnTo>
                  <a:pt x="130695" y="67614"/>
                </a:lnTo>
                <a:lnTo>
                  <a:pt x="135001" y="61861"/>
                </a:lnTo>
                <a:lnTo>
                  <a:pt x="138430" y="56388"/>
                </a:lnTo>
                <a:lnTo>
                  <a:pt x="140335" y="53721"/>
                </a:lnTo>
                <a:lnTo>
                  <a:pt x="142240" y="49911"/>
                </a:lnTo>
                <a:lnTo>
                  <a:pt x="144780" y="45339"/>
                </a:lnTo>
                <a:lnTo>
                  <a:pt x="150012" y="34734"/>
                </a:lnTo>
                <a:lnTo>
                  <a:pt x="154254" y="27241"/>
                </a:lnTo>
                <a:lnTo>
                  <a:pt x="157645" y="22809"/>
                </a:lnTo>
                <a:lnTo>
                  <a:pt x="160401" y="21336"/>
                </a:lnTo>
                <a:lnTo>
                  <a:pt x="168148" y="21336"/>
                </a:lnTo>
                <a:lnTo>
                  <a:pt x="174498" y="23368"/>
                </a:lnTo>
                <a:lnTo>
                  <a:pt x="179705" y="26543"/>
                </a:lnTo>
                <a:lnTo>
                  <a:pt x="184277" y="30480"/>
                </a:lnTo>
                <a:lnTo>
                  <a:pt x="186817" y="35560"/>
                </a:lnTo>
                <a:lnTo>
                  <a:pt x="186817" y="47879"/>
                </a:lnTo>
                <a:lnTo>
                  <a:pt x="186182" y="53086"/>
                </a:lnTo>
                <a:lnTo>
                  <a:pt x="184277" y="57658"/>
                </a:lnTo>
                <a:lnTo>
                  <a:pt x="183007" y="62230"/>
                </a:lnTo>
                <a:lnTo>
                  <a:pt x="180975" y="66040"/>
                </a:lnTo>
                <a:lnTo>
                  <a:pt x="179070" y="68707"/>
                </a:lnTo>
                <a:lnTo>
                  <a:pt x="177165" y="71882"/>
                </a:lnTo>
                <a:lnTo>
                  <a:pt x="175260" y="75184"/>
                </a:lnTo>
                <a:lnTo>
                  <a:pt x="173228" y="78359"/>
                </a:lnTo>
                <a:lnTo>
                  <a:pt x="171958" y="81661"/>
                </a:lnTo>
                <a:lnTo>
                  <a:pt x="170688" y="84201"/>
                </a:lnTo>
                <a:lnTo>
                  <a:pt x="170688" y="86106"/>
                </a:lnTo>
                <a:lnTo>
                  <a:pt x="273431" y="86106"/>
                </a:lnTo>
                <a:lnTo>
                  <a:pt x="278638" y="88773"/>
                </a:lnTo>
                <a:lnTo>
                  <a:pt x="287020" y="97155"/>
                </a:lnTo>
                <a:lnTo>
                  <a:pt x="289560" y="102362"/>
                </a:lnTo>
                <a:lnTo>
                  <a:pt x="289560" y="71145"/>
                </a:lnTo>
                <a:lnTo>
                  <a:pt x="284238" y="68110"/>
                </a:lnTo>
                <a:lnTo>
                  <a:pt x="276339" y="65620"/>
                </a:lnTo>
                <a:lnTo>
                  <a:pt x="267589" y="64770"/>
                </a:lnTo>
                <a:lnTo>
                  <a:pt x="204978" y="64770"/>
                </a:lnTo>
                <a:lnTo>
                  <a:pt x="207518" y="58293"/>
                </a:lnTo>
                <a:lnTo>
                  <a:pt x="208788" y="51181"/>
                </a:lnTo>
                <a:lnTo>
                  <a:pt x="208661" y="42037"/>
                </a:lnTo>
                <a:lnTo>
                  <a:pt x="207937" y="33731"/>
                </a:lnTo>
                <a:lnTo>
                  <a:pt x="179146" y="2857"/>
                </a:lnTo>
                <a:lnTo>
                  <a:pt x="160401" y="0"/>
                </a:lnTo>
                <a:lnTo>
                  <a:pt x="155829" y="0"/>
                </a:lnTo>
                <a:lnTo>
                  <a:pt x="132588" y="21971"/>
                </a:lnTo>
                <a:lnTo>
                  <a:pt x="128016" y="29845"/>
                </a:lnTo>
                <a:lnTo>
                  <a:pt x="126111" y="34290"/>
                </a:lnTo>
                <a:lnTo>
                  <a:pt x="123571" y="38862"/>
                </a:lnTo>
                <a:lnTo>
                  <a:pt x="122174" y="42037"/>
                </a:lnTo>
                <a:lnTo>
                  <a:pt x="120269" y="44704"/>
                </a:lnTo>
                <a:lnTo>
                  <a:pt x="117119" y="49415"/>
                </a:lnTo>
                <a:lnTo>
                  <a:pt x="113360" y="54660"/>
                </a:lnTo>
                <a:lnTo>
                  <a:pt x="108851" y="60261"/>
                </a:lnTo>
                <a:lnTo>
                  <a:pt x="103505" y="66040"/>
                </a:lnTo>
                <a:lnTo>
                  <a:pt x="103505" y="66675"/>
                </a:lnTo>
                <a:lnTo>
                  <a:pt x="102870" y="67310"/>
                </a:lnTo>
                <a:lnTo>
                  <a:pt x="101600" y="69342"/>
                </a:lnTo>
                <a:lnTo>
                  <a:pt x="100203" y="70612"/>
                </a:lnTo>
                <a:lnTo>
                  <a:pt x="97028" y="73787"/>
                </a:lnTo>
                <a:lnTo>
                  <a:pt x="96393" y="75184"/>
                </a:lnTo>
                <a:lnTo>
                  <a:pt x="94488" y="76454"/>
                </a:lnTo>
                <a:lnTo>
                  <a:pt x="93091" y="78359"/>
                </a:lnTo>
                <a:lnTo>
                  <a:pt x="91821" y="78994"/>
                </a:lnTo>
                <a:lnTo>
                  <a:pt x="90551" y="80264"/>
                </a:lnTo>
                <a:lnTo>
                  <a:pt x="89281" y="80899"/>
                </a:lnTo>
                <a:lnTo>
                  <a:pt x="88011" y="82296"/>
                </a:lnTo>
                <a:lnTo>
                  <a:pt x="86741" y="83566"/>
                </a:lnTo>
                <a:lnTo>
                  <a:pt x="85344" y="84201"/>
                </a:lnTo>
                <a:lnTo>
                  <a:pt x="84074" y="85471"/>
                </a:lnTo>
                <a:lnTo>
                  <a:pt x="82804" y="85471"/>
                </a:lnTo>
                <a:lnTo>
                  <a:pt x="81534" y="86106"/>
                </a:lnTo>
                <a:lnTo>
                  <a:pt x="52451" y="86106"/>
                </a:lnTo>
                <a:lnTo>
                  <a:pt x="52451" y="202692"/>
                </a:lnTo>
                <a:lnTo>
                  <a:pt x="52451" y="208534"/>
                </a:lnTo>
                <a:lnTo>
                  <a:pt x="51181" y="210439"/>
                </a:lnTo>
                <a:lnTo>
                  <a:pt x="49149" y="213106"/>
                </a:lnTo>
                <a:lnTo>
                  <a:pt x="46609" y="215011"/>
                </a:lnTo>
                <a:lnTo>
                  <a:pt x="44704" y="216281"/>
                </a:lnTo>
                <a:lnTo>
                  <a:pt x="38862" y="216281"/>
                </a:lnTo>
                <a:lnTo>
                  <a:pt x="36322" y="215011"/>
                </a:lnTo>
                <a:lnTo>
                  <a:pt x="33655" y="213106"/>
                </a:lnTo>
                <a:lnTo>
                  <a:pt x="31750" y="210439"/>
                </a:lnTo>
                <a:lnTo>
                  <a:pt x="30480" y="208534"/>
                </a:lnTo>
                <a:lnTo>
                  <a:pt x="30480" y="202692"/>
                </a:lnTo>
                <a:lnTo>
                  <a:pt x="31750" y="200152"/>
                </a:lnTo>
                <a:lnTo>
                  <a:pt x="33655" y="197485"/>
                </a:lnTo>
                <a:lnTo>
                  <a:pt x="36322" y="195580"/>
                </a:lnTo>
                <a:lnTo>
                  <a:pt x="38862" y="194310"/>
                </a:lnTo>
                <a:lnTo>
                  <a:pt x="44704" y="194310"/>
                </a:lnTo>
                <a:lnTo>
                  <a:pt x="46609" y="195580"/>
                </a:lnTo>
                <a:lnTo>
                  <a:pt x="49149" y="197485"/>
                </a:lnTo>
                <a:lnTo>
                  <a:pt x="51181" y="200152"/>
                </a:lnTo>
                <a:lnTo>
                  <a:pt x="52451" y="202692"/>
                </a:lnTo>
                <a:lnTo>
                  <a:pt x="52451" y="86106"/>
                </a:lnTo>
                <a:lnTo>
                  <a:pt x="24638" y="86106"/>
                </a:lnTo>
                <a:lnTo>
                  <a:pt x="19431" y="88773"/>
                </a:lnTo>
                <a:lnTo>
                  <a:pt x="11049" y="97155"/>
                </a:lnTo>
                <a:lnTo>
                  <a:pt x="9144" y="102362"/>
                </a:lnTo>
                <a:lnTo>
                  <a:pt x="9144" y="222123"/>
                </a:lnTo>
                <a:lnTo>
                  <a:pt x="11049" y="227330"/>
                </a:lnTo>
                <a:lnTo>
                  <a:pt x="15621" y="231267"/>
                </a:lnTo>
                <a:lnTo>
                  <a:pt x="19431" y="235712"/>
                </a:lnTo>
                <a:lnTo>
                  <a:pt x="24638" y="237744"/>
                </a:lnTo>
                <a:lnTo>
                  <a:pt x="78867" y="237744"/>
                </a:lnTo>
                <a:lnTo>
                  <a:pt x="85191" y="238353"/>
                </a:lnTo>
                <a:lnTo>
                  <a:pt x="93599" y="240144"/>
                </a:lnTo>
                <a:lnTo>
                  <a:pt x="104190" y="243166"/>
                </a:lnTo>
                <a:lnTo>
                  <a:pt x="117094" y="247396"/>
                </a:lnTo>
                <a:lnTo>
                  <a:pt x="132067" y="252501"/>
                </a:lnTo>
                <a:lnTo>
                  <a:pt x="146100" y="256146"/>
                </a:lnTo>
                <a:lnTo>
                  <a:pt x="159194" y="258356"/>
                </a:lnTo>
                <a:lnTo>
                  <a:pt x="171323" y="259080"/>
                </a:lnTo>
                <a:lnTo>
                  <a:pt x="182448" y="258229"/>
                </a:lnTo>
                <a:lnTo>
                  <a:pt x="215760" y="238061"/>
                </a:lnTo>
                <a:lnTo>
                  <a:pt x="223647" y="208534"/>
                </a:lnTo>
                <a:lnTo>
                  <a:pt x="228003" y="201891"/>
                </a:lnTo>
                <a:lnTo>
                  <a:pt x="231279" y="194627"/>
                </a:lnTo>
                <a:lnTo>
                  <a:pt x="233337" y="186893"/>
                </a:lnTo>
                <a:lnTo>
                  <a:pt x="234061" y="178816"/>
                </a:lnTo>
                <a:lnTo>
                  <a:pt x="234061" y="176149"/>
                </a:lnTo>
                <a:lnTo>
                  <a:pt x="233299" y="173609"/>
                </a:lnTo>
                <a:lnTo>
                  <a:pt x="233299" y="171577"/>
                </a:lnTo>
                <a:lnTo>
                  <a:pt x="236601" y="165100"/>
                </a:lnTo>
                <a:lnTo>
                  <a:pt x="239141" y="157988"/>
                </a:lnTo>
                <a:lnTo>
                  <a:pt x="239141" y="151511"/>
                </a:lnTo>
                <a:lnTo>
                  <a:pt x="267589" y="151511"/>
                </a:lnTo>
                <a:lnTo>
                  <a:pt x="304038" y="131914"/>
                </a:lnTo>
                <a:lnTo>
                  <a:pt x="310146" y="116649"/>
                </a:lnTo>
                <a:lnTo>
                  <a:pt x="310896" y="108204"/>
                </a:lnTo>
                <a:close/>
              </a:path>
            </a:pathLst>
          </a:custGeom>
          <a:solidFill>
            <a:srgbClr val="2D75B6"/>
          </a:solidFill>
        </p:spPr>
        <p:txBody>
          <a:bodyPr wrap="square" lIns="0" tIns="0" rIns="0" bIns="0" rtlCol="0"/>
          <a:lstStyle/>
          <a:p>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2D085D-981D-437E-83A3-0E4241F9601B}"/>
              </a:ext>
            </a:extLst>
          </p:cNvPr>
          <p:cNvSpPr>
            <a:spLocks noGrp="1"/>
          </p:cNvSpPr>
          <p:nvPr>
            <p:ph type="title"/>
          </p:nvPr>
        </p:nvSpPr>
        <p:spPr/>
        <p:txBody>
          <a:bodyPr/>
          <a:lstStyle/>
          <a:p>
            <a:endParaRPr lang="en-MY" dirty="0"/>
          </a:p>
        </p:txBody>
      </p:sp>
      <p:sp>
        <p:nvSpPr>
          <p:cNvPr id="3" name="Content Placeholder 2">
            <a:extLst>
              <a:ext uri="{FF2B5EF4-FFF2-40B4-BE49-F238E27FC236}">
                <a16:creationId xmlns:a16="http://schemas.microsoft.com/office/drawing/2014/main" id="{EC8389E2-8BFC-495D-B203-BB9580543BF9}"/>
              </a:ext>
            </a:extLst>
          </p:cNvPr>
          <p:cNvSpPr>
            <a:spLocks noGrp="1"/>
          </p:cNvSpPr>
          <p:nvPr>
            <p:ph idx="1"/>
          </p:nvPr>
        </p:nvSpPr>
        <p:spPr>
          <a:xfrm>
            <a:off x="944336" y="2237922"/>
            <a:ext cx="10515600" cy="4351338"/>
          </a:xfrm>
        </p:spPr>
        <p:txBody>
          <a:bodyPr/>
          <a:lstStyle/>
          <a:p>
            <a:endParaRPr lang="en-MY" dirty="0"/>
          </a:p>
        </p:txBody>
      </p:sp>
      <p:sp>
        <p:nvSpPr>
          <p:cNvPr id="8" name="Rectangle 7">
            <a:extLst>
              <a:ext uri="{FF2B5EF4-FFF2-40B4-BE49-F238E27FC236}">
                <a16:creationId xmlns:a16="http://schemas.microsoft.com/office/drawing/2014/main" id="{3D9ADE71-48D4-4633-8A5E-A8ED65C4ACAC}"/>
              </a:ext>
            </a:extLst>
          </p:cNvPr>
          <p:cNvSpPr/>
          <p:nvPr/>
        </p:nvSpPr>
        <p:spPr>
          <a:xfrm>
            <a:off x="5964011" y="324304"/>
            <a:ext cx="4653642" cy="6145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solidFill>
                <a:schemeClr val="bg1"/>
              </a:solidFill>
            </a:endParaRPr>
          </a:p>
        </p:txBody>
      </p:sp>
      <p:pic>
        <p:nvPicPr>
          <p:cNvPr id="5" name="Picture 4">
            <a:extLst>
              <a:ext uri="{FF2B5EF4-FFF2-40B4-BE49-F238E27FC236}">
                <a16:creationId xmlns:a16="http://schemas.microsoft.com/office/drawing/2014/main" id="{9E706415-DEE8-4DC4-8225-97042CF5BB6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830773" y="387762"/>
            <a:ext cx="10416891" cy="6201498"/>
          </a:xfrm>
          <a:prstGeom prst="rect">
            <a:avLst/>
          </a:prstGeom>
        </p:spPr>
      </p:pic>
    </p:spTree>
    <p:extLst>
      <p:ext uri="{BB962C8B-B14F-4D97-AF65-F5344CB8AC3E}">
        <p14:creationId xmlns:p14="http://schemas.microsoft.com/office/powerpoint/2010/main" val="15892873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498470" y="219665"/>
            <a:ext cx="9896523" cy="6591824"/>
          </a:xfrm>
          <a:prstGeom prst="rect">
            <a:avLst/>
          </a:prstGeom>
        </p:spPr>
      </p:pic>
      <p:sp>
        <p:nvSpPr>
          <p:cNvPr id="4" name="TextBox 3">
            <a:extLst>
              <a:ext uri="{FF2B5EF4-FFF2-40B4-BE49-F238E27FC236}">
                <a16:creationId xmlns:a16="http://schemas.microsoft.com/office/drawing/2014/main" id="{8BA72B3A-57E6-48FF-B179-241696D94A99}"/>
              </a:ext>
            </a:extLst>
          </p:cNvPr>
          <p:cNvSpPr txBox="1"/>
          <p:nvPr/>
        </p:nvSpPr>
        <p:spPr>
          <a:xfrm>
            <a:off x="7423643" y="6416159"/>
            <a:ext cx="4656504" cy="338554"/>
          </a:xfrm>
          <a:prstGeom prst="rect">
            <a:avLst/>
          </a:prstGeom>
          <a:noFill/>
        </p:spPr>
        <p:txBody>
          <a:bodyPr wrap="square">
            <a:spAutoFit/>
          </a:bodyPr>
          <a:lstStyle/>
          <a:p>
            <a:r>
              <a:rPr lang="en-MY" sz="1600" b="1" dirty="0">
                <a:solidFill>
                  <a:schemeClr val="bg1"/>
                </a:solidFill>
              </a:rPr>
              <a:t>https://feature.undp.org/coronavirus-vs-inequality/</a:t>
            </a:r>
          </a:p>
        </p:txBody>
      </p:sp>
    </p:spTree>
    <p:extLst>
      <p:ext uri="{BB962C8B-B14F-4D97-AF65-F5344CB8AC3E}">
        <p14:creationId xmlns:p14="http://schemas.microsoft.com/office/powerpoint/2010/main" val="314118161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035634" y="232867"/>
            <a:ext cx="5679347" cy="749918"/>
          </a:xfrm>
          <a:prstGeom prst="rect">
            <a:avLst/>
          </a:prstGeom>
        </p:spPr>
      </p:pic>
      <p:sp>
        <p:nvSpPr>
          <p:cNvPr id="4" name="Rectangle 3"/>
          <p:cNvSpPr/>
          <p:nvPr/>
        </p:nvSpPr>
        <p:spPr>
          <a:xfrm>
            <a:off x="251050" y="1215009"/>
            <a:ext cx="5645604" cy="4859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t>Adverse impact on their income and financial security </a:t>
            </a:r>
            <a:endParaRPr lang="en-MY" sz="2400" dirty="0"/>
          </a:p>
        </p:txBody>
      </p:sp>
      <p:pic>
        <p:nvPicPr>
          <p:cNvPr id="5" name="Picture 4">
            <a:extLst>
              <a:ext uri="{FF2B5EF4-FFF2-40B4-BE49-F238E27FC236}">
                <a16:creationId xmlns:a16="http://schemas.microsoft.com/office/drawing/2014/main" id="{5B6E0725-C687-4E97-A840-B42CCDDDBDC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63309" y="273398"/>
            <a:ext cx="5421085" cy="4136989"/>
          </a:xfrm>
          <a:prstGeom prst="rect">
            <a:avLst/>
          </a:prstGeom>
        </p:spPr>
      </p:pic>
      <p:pic>
        <p:nvPicPr>
          <p:cNvPr id="6" name="Picture 5">
            <a:extLst>
              <a:ext uri="{FF2B5EF4-FFF2-40B4-BE49-F238E27FC236}">
                <a16:creationId xmlns:a16="http://schemas.microsoft.com/office/drawing/2014/main" id="{77D68035-367A-413E-8E60-5EC181AD622D}"/>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084433" y="1185970"/>
            <a:ext cx="5858513" cy="3528918"/>
          </a:xfrm>
          <a:prstGeom prst="rect">
            <a:avLst/>
          </a:prstGeom>
        </p:spPr>
      </p:pic>
      <p:sp>
        <p:nvSpPr>
          <p:cNvPr id="7" name="TextBox 6">
            <a:extLst>
              <a:ext uri="{FF2B5EF4-FFF2-40B4-BE49-F238E27FC236}">
                <a16:creationId xmlns:a16="http://schemas.microsoft.com/office/drawing/2014/main" id="{039760AF-383D-4683-9F93-979920C122B7}"/>
              </a:ext>
            </a:extLst>
          </p:cNvPr>
          <p:cNvSpPr txBox="1"/>
          <p:nvPr/>
        </p:nvSpPr>
        <p:spPr>
          <a:xfrm>
            <a:off x="551089" y="4396473"/>
            <a:ext cx="5546327" cy="369332"/>
          </a:xfrm>
          <a:prstGeom prst="rect">
            <a:avLst/>
          </a:prstGeom>
          <a:noFill/>
        </p:spPr>
        <p:txBody>
          <a:bodyPr wrap="none" rtlCol="0">
            <a:spAutoFit/>
          </a:bodyPr>
          <a:lstStyle/>
          <a:p>
            <a:r>
              <a:rPr lang="en-US" dirty="0"/>
              <a:t>1.Adverse impact on their income and financial security </a:t>
            </a:r>
            <a:endParaRPr lang="en-MY" dirty="0"/>
          </a:p>
        </p:txBody>
      </p:sp>
      <p:sp>
        <p:nvSpPr>
          <p:cNvPr id="8" name="TextBox 7">
            <a:extLst>
              <a:ext uri="{FF2B5EF4-FFF2-40B4-BE49-F238E27FC236}">
                <a16:creationId xmlns:a16="http://schemas.microsoft.com/office/drawing/2014/main" id="{B6667ABB-ECC2-4C32-8768-D0E128E53B2E}"/>
              </a:ext>
            </a:extLst>
          </p:cNvPr>
          <p:cNvSpPr txBox="1"/>
          <p:nvPr/>
        </p:nvSpPr>
        <p:spPr>
          <a:xfrm>
            <a:off x="510268" y="4837489"/>
            <a:ext cx="9200852" cy="369332"/>
          </a:xfrm>
          <a:prstGeom prst="rect">
            <a:avLst/>
          </a:prstGeom>
          <a:noFill/>
        </p:spPr>
        <p:txBody>
          <a:bodyPr wrap="none" rtlCol="0">
            <a:spAutoFit/>
          </a:bodyPr>
          <a:lstStyle/>
          <a:p>
            <a:r>
              <a:rPr lang="en-US" dirty="0"/>
              <a:t>2.Limited access to affordable food and goods, as well as a risky reliance on public transportation</a:t>
            </a:r>
            <a:endParaRPr lang="en-MY" dirty="0"/>
          </a:p>
        </p:txBody>
      </p:sp>
      <p:sp>
        <p:nvSpPr>
          <p:cNvPr id="9" name="TextBox 8">
            <a:extLst>
              <a:ext uri="{FF2B5EF4-FFF2-40B4-BE49-F238E27FC236}">
                <a16:creationId xmlns:a16="http://schemas.microsoft.com/office/drawing/2014/main" id="{5DFCE1C6-05E6-4AAD-A64C-B4836997D101}"/>
              </a:ext>
            </a:extLst>
          </p:cNvPr>
          <p:cNvSpPr txBox="1"/>
          <p:nvPr/>
        </p:nvSpPr>
        <p:spPr>
          <a:xfrm>
            <a:off x="514434" y="5329422"/>
            <a:ext cx="11561828" cy="1200329"/>
          </a:xfrm>
          <a:prstGeom prst="rect">
            <a:avLst/>
          </a:prstGeom>
          <a:noFill/>
        </p:spPr>
        <p:txBody>
          <a:bodyPr wrap="square" rtlCol="0">
            <a:spAutoFit/>
          </a:bodyPr>
          <a:lstStyle/>
          <a:p>
            <a:r>
              <a:rPr lang="en-US" dirty="0"/>
              <a:t>3. Poor infrastructure exacerbating the problem – </a:t>
            </a:r>
          </a:p>
          <a:p>
            <a:r>
              <a:rPr lang="en-US" dirty="0"/>
              <a:t>“a typical PPR in Kuala Lumpur consists of at least 316 units per 17-floor block. If the average household size is 4.6, then assuming all units are occupied, approximately 1,455 people would be crammed all together in one building. If we are not careful, these PPRs might be the perfect breeding ground for the novel coronavirus…..  </a:t>
            </a:r>
            <a:endParaRPr lang="en-MY" dirty="0"/>
          </a:p>
        </p:txBody>
      </p:sp>
    </p:spTree>
    <p:extLst>
      <p:ext uri="{BB962C8B-B14F-4D97-AF65-F5344CB8AC3E}">
        <p14:creationId xmlns:p14="http://schemas.microsoft.com/office/powerpoint/2010/main" val="210798457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781C4A-00A2-4C9E-8C76-78D0875C8EE3}"/>
              </a:ext>
            </a:extLst>
          </p:cNvPr>
          <p:cNvSpPr>
            <a:spLocks noGrp="1"/>
          </p:cNvSpPr>
          <p:nvPr>
            <p:ph type="title"/>
          </p:nvPr>
        </p:nvSpPr>
        <p:spPr/>
        <p:txBody>
          <a:bodyPr/>
          <a:lstStyle/>
          <a:p>
            <a:endParaRPr lang="en-MY" dirty="0"/>
          </a:p>
        </p:txBody>
      </p:sp>
      <p:sp>
        <p:nvSpPr>
          <p:cNvPr id="4" name="Content Placeholder 3">
            <a:extLst>
              <a:ext uri="{FF2B5EF4-FFF2-40B4-BE49-F238E27FC236}">
                <a16:creationId xmlns:a16="http://schemas.microsoft.com/office/drawing/2014/main" id="{5AFE8D30-10DD-4871-AF0C-395884978B54}"/>
              </a:ext>
            </a:extLst>
          </p:cNvPr>
          <p:cNvSpPr>
            <a:spLocks noGrp="1"/>
          </p:cNvSpPr>
          <p:nvPr>
            <p:ph idx="1"/>
          </p:nvPr>
        </p:nvSpPr>
        <p:spPr/>
        <p:txBody>
          <a:bodyPr/>
          <a:lstStyle/>
          <a:p>
            <a:endParaRPr lang="en-MY" dirty="0"/>
          </a:p>
        </p:txBody>
      </p:sp>
      <p:pic>
        <p:nvPicPr>
          <p:cNvPr id="8" name="Picture 7">
            <a:extLst>
              <a:ext uri="{FF2B5EF4-FFF2-40B4-BE49-F238E27FC236}">
                <a16:creationId xmlns:a16="http://schemas.microsoft.com/office/drawing/2014/main" id="{8DC5F534-1D07-4F29-BF60-B3430F90C56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38522" y="1299015"/>
            <a:ext cx="7922395" cy="4567867"/>
          </a:xfrm>
          <a:prstGeom prst="rect">
            <a:avLst/>
          </a:prstGeom>
        </p:spPr>
      </p:pic>
      <p:pic>
        <p:nvPicPr>
          <p:cNvPr id="9" name="Picture 8">
            <a:extLst>
              <a:ext uri="{FF2B5EF4-FFF2-40B4-BE49-F238E27FC236}">
                <a16:creationId xmlns:a16="http://schemas.microsoft.com/office/drawing/2014/main" id="{D67322C8-5154-4E62-B5AC-97784BEA32A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115321" y="700550"/>
            <a:ext cx="5938157" cy="1531136"/>
          </a:xfrm>
          <a:prstGeom prst="rect">
            <a:avLst/>
          </a:prstGeom>
        </p:spPr>
      </p:pic>
      <p:pic>
        <p:nvPicPr>
          <p:cNvPr id="11" name="Picture 10">
            <a:extLst>
              <a:ext uri="{FF2B5EF4-FFF2-40B4-BE49-F238E27FC236}">
                <a16:creationId xmlns:a16="http://schemas.microsoft.com/office/drawing/2014/main" id="{5D819F8E-A217-4EE8-9042-BEFB5BC01669}"/>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169068" y="2299154"/>
            <a:ext cx="5938157" cy="4305754"/>
          </a:xfrm>
          <a:prstGeom prst="rect">
            <a:avLst/>
          </a:prstGeom>
        </p:spPr>
      </p:pic>
    </p:spTree>
    <p:extLst>
      <p:ext uri="{BB962C8B-B14F-4D97-AF65-F5344CB8AC3E}">
        <p14:creationId xmlns:p14="http://schemas.microsoft.com/office/powerpoint/2010/main" val="18655564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144DDD-CFF3-4675-8B15-BB113DEDE848}"/>
              </a:ext>
            </a:extLst>
          </p:cNvPr>
          <p:cNvSpPr>
            <a:spLocks noGrp="1"/>
          </p:cNvSpPr>
          <p:nvPr>
            <p:ph type="title"/>
          </p:nvPr>
        </p:nvSpPr>
        <p:spPr/>
        <p:txBody>
          <a:bodyPr/>
          <a:lstStyle/>
          <a:p>
            <a:r>
              <a:rPr lang="en-US" dirty="0">
                <a:solidFill>
                  <a:srgbClr val="002060"/>
                </a:solidFill>
                <a:latin typeface="Arial" panose="020B0604020202020204" pitchFamily="34" charset="0"/>
                <a:cs typeface="Arial" panose="020B0604020202020204" pitchFamily="34" charset="0"/>
              </a:rPr>
              <a:t>Foreign Workers - Access to Healthcare</a:t>
            </a:r>
            <a:endParaRPr lang="en-MY" dirty="0">
              <a:solidFill>
                <a:srgbClr val="002060"/>
              </a:solidFill>
              <a:latin typeface="Arial" panose="020B0604020202020204" pitchFamily="34" charset="0"/>
              <a:cs typeface="Arial" panose="020B0604020202020204" pitchFamily="34" charset="0"/>
            </a:endParaRPr>
          </a:p>
        </p:txBody>
      </p:sp>
      <p:sp>
        <p:nvSpPr>
          <p:cNvPr id="3" name="Content Placeholder 2">
            <a:extLst>
              <a:ext uri="{FF2B5EF4-FFF2-40B4-BE49-F238E27FC236}">
                <a16:creationId xmlns:a16="http://schemas.microsoft.com/office/drawing/2014/main" id="{D0AC8096-7ECA-4566-A12C-19A64A0B1969}"/>
              </a:ext>
            </a:extLst>
          </p:cNvPr>
          <p:cNvSpPr>
            <a:spLocks noGrp="1"/>
          </p:cNvSpPr>
          <p:nvPr>
            <p:ph idx="1"/>
          </p:nvPr>
        </p:nvSpPr>
        <p:spPr/>
        <p:txBody>
          <a:bodyPr>
            <a:normAutofit lnSpcReduction="10000"/>
          </a:bodyPr>
          <a:lstStyle/>
          <a:p>
            <a:r>
              <a:rPr lang="en-US" dirty="0"/>
              <a:t>Population of foreign workers - range from 4 – 7 million, with most citing undocumented migrants as the bulk of the group. </a:t>
            </a:r>
          </a:p>
          <a:p>
            <a:r>
              <a:rPr lang="en-US" dirty="0"/>
              <a:t>Pre-pandemic – a 2015 study of Bangladeshi migrant workers showed that lack of medical insurance and prohibitive medical fees is a key deterrent for seeking care</a:t>
            </a:r>
          </a:p>
          <a:p>
            <a:r>
              <a:rPr lang="en-US" dirty="0"/>
              <a:t>COVID-19 pandemic – confusing messages from government regarding cost of care </a:t>
            </a:r>
          </a:p>
          <a:p>
            <a:r>
              <a:rPr lang="en-US" dirty="0"/>
              <a:t>Fear of prosecution</a:t>
            </a:r>
          </a:p>
          <a:p>
            <a:r>
              <a:rPr lang="en-US" dirty="0"/>
              <a:t>Language &amp; employer related barriers</a:t>
            </a:r>
          </a:p>
          <a:p>
            <a:r>
              <a:rPr lang="en-US" dirty="0"/>
              <a:t>Reliance on daily wages </a:t>
            </a:r>
            <a:endParaRPr lang="en-MY" dirty="0"/>
          </a:p>
        </p:txBody>
      </p:sp>
    </p:spTree>
    <p:extLst>
      <p:ext uri="{BB962C8B-B14F-4D97-AF65-F5344CB8AC3E}">
        <p14:creationId xmlns:p14="http://schemas.microsoft.com/office/powerpoint/2010/main" val="4211558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CB1DB5-E6C3-4C19-AEA3-7B224B6B4E73}"/>
              </a:ext>
            </a:extLst>
          </p:cNvPr>
          <p:cNvSpPr>
            <a:spLocks noGrp="1"/>
          </p:cNvSpPr>
          <p:nvPr>
            <p:ph type="title"/>
          </p:nvPr>
        </p:nvSpPr>
        <p:spPr/>
        <p:txBody>
          <a:bodyPr/>
          <a:lstStyle/>
          <a:p>
            <a:endParaRPr lang="en-MY"/>
          </a:p>
        </p:txBody>
      </p:sp>
      <p:pic>
        <p:nvPicPr>
          <p:cNvPr id="11" name="Content Placeholder 10">
            <a:extLst>
              <a:ext uri="{FF2B5EF4-FFF2-40B4-BE49-F238E27FC236}">
                <a16:creationId xmlns:a16="http://schemas.microsoft.com/office/drawing/2014/main" id="{E2172552-2CD3-413E-8E69-168332A80C44}"/>
              </a:ext>
            </a:extLst>
          </p:cNvPr>
          <p:cNvPicPr>
            <a:picLocks noGrp="1" noChangeAspect="1"/>
          </p:cNvPicPr>
          <p:nvPr>
            <p:ph idx="1"/>
          </p:nvPr>
        </p:nvPicPr>
        <p:blipFill>
          <a:blip r:embed="rId2" cstate="screen">
            <a:extLst>
              <a:ext uri="{28A0092B-C50C-407E-A947-70E740481C1C}">
                <a14:useLocalDpi xmlns:a14="http://schemas.microsoft.com/office/drawing/2010/main"/>
              </a:ext>
            </a:extLst>
          </a:blip>
          <a:stretch>
            <a:fillRect/>
          </a:stretch>
        </p:blipFill>
        <p:spPr>
          <a:xfrm>
            <a:off x="1133219" y="2217510"/>
            <a:ext cx="3263503" cy="4351338"/>
          </a:xfrm>
          <a:prstGeom prst="rect">
            <a:avLst/>
          </a:prstGeom>
        </p:spPr>
      </p:pic>
      <p:pic>
        <p:nvPicPr>
          <p:cNvPr id="6" name="Picture 5">
            <a:extLst>
              <a:ext uri="{FF2B5EF4-FFF2-40B4-BE49-F238E27FC236}">
                <a16:creationId xmlns:a16="http://schemas.microsoft.com/office/drawing/2014/main" id="{05AA3996-F904-4175-9A40-8C75BA8F047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505232" y="420459"/>
            <a:ext cx="6308489" cy="5821137"/>
          </a:xfrm>
          <a:prstGeom prst="rect">
            <a:avLst/>
          </a:prstGeom>
        </p:spPr>
      </p:pic>
      <p:pic>
        <p:nvPicPr>
          <p:cNvPr id="10" name="Picture 9">
            <a:extLst>
              <a:ext uri="{FF2B5EF4-FFF2-40B4-BE49-F238E27FC236}">
                <a16:creationId xmlns:a16="http://schemas.microsoft.com/office/drawing/2014/main" id="{E682E943-F163-45D3-A7DD-3CE815721E07}"/>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42924" y="464497"/>
            <a:ext cx="4637315" cy="3331895"/>
          </a:xfrm>
          <a:prstGeom prst="rect">
            <a:avLst/>
          </a:prstGeom>
        </p:spPr>
      </p:pic>
    </p:spTree>
    <p:extLst>
      <p:ext uri="{BB962C8B-B14F-4D97-AF65-F5344CB8AC3E}">
        <p14:creationId xmlns:p14="http://schemas.microsoft.com/office/powerpoint/2010/main" val="13878988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754B4D6-45C4-49BD-BA84-399915E979C4}"/>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67377" y="426074"/>
            <a:ext cx="4762907" cy="2629076"/>
          </a:xfrm>
          <a:prstGeom prst="rect">
            <a:avLst/>
          </a:prstGeom>
        </p:spPr>
      </p:pic>
      <p:pic>
        <p:nvPicPr>
          <p:cNvPr id="7" name="Picture 6">
            <a:extLst>
              <a:ext uri="{FF2B5EF4-FFF2-40B4-BE49-F238E27FC236}">
                <a16:creationId xmlns:a16="http://schemas.microsoft.com/office/drawing/2014/main" id="{1E01FCE9-DFF2-4381-8C29-4EA459A48C4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
          <a:stretch/>
        </p:blipFill>
        <p:spPr>
          <a:xfrm>
            <a:off x="5581449" y="426073"/>
            <a:ext cx="5349591" cy="2273171"/>
          </a:xfrm>
          <a:prstGeom prst="rect">
            <a:avLst/>
          </a:prstGeom>
        </p:spPr>
      </p:pic>
      <p:pic>
        <p:nvPicPr>
          <p:cNvPr id="8" name="Picture 7">
            <a:extLst>
              <a:ext uri="{FF2B5EF4-FFF2-40B4-BE49-F238E27FC236}">
                <a16:creationId xmlns:a16="http://schemas.microsoft.com/office/drawing/2014/main" id="{59F3F87C-E006-4489-90B4-3D69989115E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3541" y="4315867"/>
            <a:ext cx="2614060" cy="1947475"/>
          </a:xfrm>
          <a:prstGeom prst="rect">
            <a:avLst/>
          </a:prstGeom>
        </p:spPr>
      </p:pic>
      <p:pic>
        <p:nvPicPr>
          <p:cNvPr id="5" name="Picture 4">
            <a:extLst>
              <a:ext uri="{FF2B5EF4-FFF2-40B4-BE49-F238E27FC236}">
                <a16:creationId xmlns:a16="http://schemas.microsoft.com/office/drawing/2014/main" id="{C4457ACE-ED1B-44A1-8BAE-B6F954EA04D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925712" y="3517185"/>
            <a:ext cx="4405561" cy="3028824"/>
          </a:xfrm>
          <a:prstGeom prst="rect">
            <a:avLst/>
          </a:prstGeom>
        </p:spPr>
      </p:pic>
      <p:pic>
        <p:nvPicPr>
          <p:cNvPr id="6" name="Picture 5">
            <a:extLst>
              <a:ext uri="{FF2B5EF4-FFF2-40B4-BE49-F238E27FC236}">
                <a16:creationId xmlns:a16="http://schemas.microsoft.com/office/drawing/2014/main" id="{6C0858CE-9221-44C2-9C61-1F5CC0AF06A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875138" y="4315865"/>
            <a:ext cx="2967447" cy="2114307"/>
          </a:xfrm>
          <a:prstGeom prst="rect">
            <a:avLst/>
          </a:prstGeom>
        </p:spPr>
      </p:pic>
      <p:sp>
        <p:nvSpPr>
          <p:cNvPr id="2" name="TextBox 1">
            <a:extLst>
              <a:ext uri="{FF2B5EF4-FFF2-40B4-BE49-F238E27FC236}">
                <a16:creationId xmlns:a16="http://schemas.microsoft.com/office/drawing/2014/main" id="{AE34594F-0647-4256-B30C-71FD569F6A0F}"/>
              </a:ext>
            </a:extLst>
          </p:cNvPr>
          <p:cNvSpPr txBox="1"/>
          <p:nvPr/>
        </p:nvSpPr>
        <p:spPr>
          <a:xfrm>
            <a:off x="818541" y="2387699"/>
            <a:ext cx="4260579" cy="523220"/>
          </a:xfrm>
          <a:prstGeom prst="rect">
            <a:avLst/>
          </a:prstGeom>
          <a:solidFill>
            <a:schemeClr val="bg1"/>
          </a:solidFill>
        </p:spPr>
        <p:txBody>
          <a:bodyPr wrap="square" rtlCol="0">
            <a:spAutoFit/>
          </a:bodyPr>
          <a:lstStyle/>
          <a:p>
            <a:r>
              <a:rPr lang="en-MY" sz="1400" b="1">
                <a:latin typeface="Century Gothic" panose="020B0502020202020204" pitchFamily="34" charset="0"/>
              </a:rPr>
              <a:t>The 1,126 prison-related positive cases, 39 are prison officers or staff.</a:t>
            </a:r>
          </a:p>
        </p:txBody>
      </p:sp>
      <p:sp>
        <p:nvSpPr>
          <p:cNvPr id="3" name="Slide Number Placeholder 2">
            <a:extLst>
              <a:ext uri="{FF2B5EF4-FFF2-40B4-BE49-F238E27FC236}">
                <a16:creationId xmlns:a16="http://schemas.microsoft.com/office/drawing/2014/main" id="{C7B10575-6922-4EE6-A302-8BEF1D915018}"/>
              </a:ext>
            </a:extLst>
          </p:cNvPr>
          <p:cNvSpPr>
            <a:spLocks noGrp="1"/>
          </p:cNvSpPr>
          <p:nvPr>
            <p:ph type="sldNum" sz="quarter" idx="12"/>
          </p:nvPr>
        </p:nvSpPr>
        <p:spPr/>
        <p:txBody>
          <a:bodyPr/>
          <a:lstStyle/>
          <a:p>
            <a:pPr algn="l"/>
            <a:fld id="{FAEF9944-A4F6-4C59-AEBD-678D6480B8EA}" type="slidenum">
              <a:rPr lang="en-US" smtClean="0"/>
              <a:pPr algn="l"/>
              <a:t>8</a:t>
            </a:fld>
            <a:endParaRPr lang="en-US"/>
          </a:p>
        </p:txBody>
      </p:sp>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8138537" y="1601073"/>
            <a:ext cx="3785239" cy="2281881"/>
          </a:xfrm>
          <a:prstGeom prst="rect">
            <a:avLst/>
          </a:prstGeom>
        </p:spPr>
      </p:pic>
    </p:spTree>
    <p:extLst>
      <p:ext uri="{BB962C8B-B14F-4D97-AF65-F5344CB8AC3E}">
        <p14:creationId xmlns:p14="http://schemas.microsoft.com/office/powerpoint/2010/main" val="3281507407"/>
      </p:ext>
    </p:extLst>
  </p:cSld>
  <p:clrMapOvr>
    <a:masterClrMapping/>
  </p:clrMapOvr>
  <p:transition spd="med">
    <p:pull/>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MY"/>
          </a:p>
        </p:txBody>
      </p:sp>
      <p:pic>
        <p:nvPicPr>
          <p:cNvPr id="4" name="Picture 3">
            <a:extLst>
              <a:ext uri="{FF2B5EF4-FFF2-40B4-BE49-F238E27FC236}">
                <a16:creationId xmlns:a16="http://schemas.microsoft.com/office/drawing/2014/main" id="{DCC9AF18-FCB2-43C1-B31C-9D6A1643A3E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09600" y="380319"/>
            <a:ext cx="9987643" cy="2620737"/>
          </a:xfrm>
          <a:prstGeom prst="rect">
            <a:avLst/>
          </a:prstGeom>
        </p:spPr>
      </p:pic>
      <p:pic>
        <p:nvPicPr>
          <p:cNvPr id="9" name="Content Placeholder 8">
            <a:extLst>
              <a:ext uri="{FF2B5EF4-FFF2-40B4-BE49-F238E27FC236}">
                <a16:creationId xmlns:a16="http://schemas.microsoft.com/office/drawing/2014/main" id="{0DBC32F1-29A5-43E4-9C6B-9EFB94731AB5}"/>
              </a:ext>
            </a:extLst>
          </p:cNvPr>
          <p:cNvPicPr>
            <a:picLocks noGrp="1" noChangeAspect="1"/>
          </p:cNvPicPr>
          <p:nvPr>
            <p:ph idx="1"/>
          </p:nvPr>
        </p:nvPicPr>
        <p:blipFill>
          <a:blip r:embed="rId3"/>
          <a:stretch>
            <a:fillRect/>
          </a:stretch>
        </p:blipFill>
        <p:spPr>
          <a:xfrm>
            <a:off x="1044149" y="1951264"/>
            <a:ext cx="7238520" cy="4812794"/>
          </a:xfrm>
          <a:prstGeom prst="rect">
            <a:avLst/>
          </a:prstGeom>
        </p:spPr>
      </p:pic>
    </p:spTree>
    <p:extLst>
      <p:ext uri="{BB962C8B-B14F-4D97-AF65-F5344CB8AC3E}">
        <p14:creationId xmlns:p14="http://schemas.microsoft.com/office/powerpoint/2010/main" val="20339571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822B9E06671B54FA89F14538B9B0FEA" ma:contentTypeVersion="1" ma:contentTypeDescription="Create a new document." ma:contentTypeScope="" ma:versionID="362711686602768b23db736653e4ac1a">
  <xsd:schema xmlns:xsd="http://www.w3.org/2001/XMLSchema" xmlns:xs="http://www.w3.org/2001/XMLSchema" xmlns:p="http://schemas.microsoft.com/office/2006/metadata/properties" xmlns:ns1="http://schemas.microsoft.com/sharepoint/v3" targetNamespace="http://schemas.microsoft.com/office/2006/metadata/properties" ma:root="true" ma:fieldsID="48c5b5cd9b8d25ff6dd15848836f4270"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C200833B-7136-4CC2-96D7-708507766AEB}">
  <ds:schemaRefs>
    <ds:schemaRef ds:uri="http://schemas.microsoft.com/sharepoint/v3/contenttype/forms"/>
  </ds:schemaRefs>
</ds:datastoreItem>
</file>

<file path=customXml/itemProps2.xml><?xml version="1.0" encoding="utf-8"?>
<ds:datastoreItem xmlns:ds="http://schemas.openxmlformats.org/officeDocument/2006/customXml" ds:itemID="{68AEE82E-BE54-469E-AECB-0859FD43273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1652838-1017-43B0-ACB3-FFA06EE67DEB}">
  <ds:schemaRefs>
    <ds:schemaRef ds:uri="http://schemas.microsoft.com/office/2006/metadata/properties"/>
    <ds:schemaRef ds:uri="http://schemas.microsoft.com/office/infopath/2007/PartnerControls"/>
    <ds:schemaRef ds:uri="http://schemas.microsoft.com/sharepoint/v3"/>
  </ds:schemaRefs>
</ds:datastoreItem>
</file>

<file path=docProps/app.xml><?xml version="1.0" encoding="utf-8"?>
<Properties xmlns="http://schemas.openxmlformats.org/officeDocument/2006/extended-properties" xmlns:vt="http://schemas.openxmlformats.org/officeDocument/2006/docPropsVTypes">
  <TotalTime>360</TotalTime>
  <Words>304</Words>
  <Application>Microsoft Macintosh PowerPoint</Application>
  <PresentationFormat>Widescreen</PresentationFormat>
  <Paragraphs>32</Paragraphs>
  <Slides>13</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1" baseType="lpstr">
      <vt:lpstr>Arial</vt:lpstr>
      <vt:lpstr>Arial Black</vt:lpstr>
      <vt:lpstr>Calibri</vt:lpstr>
      <vt:lpstr>Calibri Light</vt:lpstr>
      <vt:lpstr>Cambria</vt:lpstr>
      <vt:lpstr>Century Gothic</vt:lpstr>
      <vt:lpstr>Office Theme</vt:lpstr>
      <vt:lpstr>think-cell Slide</vt:lpstr>
      <vt:lpstr>Intersessional Seminar on Access to Medicines and Vaccines in the Context of the Right of Everyone to the Enjoyment of the Highest Attainable Standard of Physical and Mental Health </vt:lpstr>
      <vt:lpstr>PowerPoint Presentation</vt:lpstr>
      <vt:lpstr>PowerPoint Presentation</vt:lpstr>
      <vt:lpstr>PowerPoint Presentation</vt:lpstr>
      <vt:lpstr>PowerPoint Presentation</vt:lpstr>
      <vt:lpstr>Foreign Workers - Access to Healthcare</vt:lpstr>
      <vt:lpstr>PowerPoint Presentation</vt:lpstr>
      <vt:lpstr>PowerPoint Presentation</vt:lpstr>
      <vt:lpstr>PowerPoint Presentation</vt:lpstr>
      <vt:lpstr>PowerPoint Presentation</vt:lpstr>
      <vt:lpstr>PowerPoint Presentation</vt:lpstr>
      <vt:lpstr>PowerPoint Presentation</vt:lpstr>
      <vt:lpstr>PUBLIC-PRIVATE PARTNERSHIP</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deeba Kamarulzaman</dc:creator>
  <cp:lastModifiedBy>Yan Su</cp:lastModifiedBy>
  <cp:revision>12</cp:revision>
  <dcterms:created xsi:type="dcterms:W3CDTF">2021-12-06T10:16:26Z</dcterms:created>
  <dcterms:modified xsi:type="dcterms:W3CDTF">2021-12-28T15:58: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822B9E06671B54FA89F14538B9B0FEA</vt:lpwstr>
  </property>
</Properties>
</file>